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bookmarkIdSeed="2">
  <p:sldMasterIdLst>
    <p:sldMasterId id="2147483648" r:id="rId1"/>
  </p:sldMasterIdLst>
  <p:notesMasterIdLst>
    <p:notesMasterId r:id="rId33"/>
  </p:notesMasterIdLst>
  <p:sldIdLst>
    <p:sldId id="258" r:id="rId2"/>
    <p:sldId id="285" r:id="rId3"/>
    <p:sldId id="286" r:id="rId4"/>
    <p:sldId id="275" r:id="rId5"/>
    <p:sldId id="256" r:id="rId6"/>
    <p:sldId id="287" r:id="rId7"/>
    <p:sldId id="260" r:id="rId8"/>
    <p:sldId id="261" r:id="rId9"/>
    <p:sldId id="276" r:id="rId10"/>
    <p:sldId id="288" r:id="rId11"/>
    <p:sldId id="259" r:id="rId12"/>
    <p:sldId id="262" r:id="rId13"/>
    <p:sldId id="289" r:id="rId14"/>
    <p:sldId id="282" r:id="rId15"/>
    <p:sldId id="263" r:id="rId16"/>
    <p:sldId id="266" r:id="rId17"/>
    <p:sldId id="264" r:id="rId18"/>
    <p:sldId id="265" r:id="rId19"/>
    <p:sldId id="290" r:id="rId20"/>
    <p:sldId id="267" r:id="rId21"/>
    <p:sldId id="272" r:id="rId22"/>
    <p:sldId id="291" r:id="rId23"/>
    <p:sldId id="269" r:id="rId24"/>
    <p:sldId id="270" r:id="rId25"/>
    <p:sldId id="280" r:id="rId26"/>
    <p:sldId id="292" r:id="rId27"/>
    <p:sldId id="281" r:id="rId28"/>
    <p:sldId id="284" r:id="rId29"/>
    <p:sldId id="293" r:id="rId30"/>
    <p:sldId id="294" r:id="rId31"/>
    <p:sldId id="283" r:id="rId32"/>
  </p:sldIdLst>
  <p:sldSz cx="9144000" cy="6858000" type="screen4x3"/>
  <p:notesSz cx="6858000" cy="9144000"/>
  <p:embeddedFontLst>
    <p:embeddedFont>
      <p:font typeface="Calibri" panose="020F0502020204030204" pitchFamily="34" charset="0"/>
      <p:regular r:id="rId34"/>
      <p:bold r:id="rId35"/>
      <p:italic r:id="rId36"/>
      <p:boldItalic r:id="rId37"/>
    </p:embeddedFont>
    <p:embeddedFont>
      <p:font typeface="Webdings" panose="05030102010509060703" pitchFamily="18" charset="2"/>
      <p:regular r:id="rId38"/>
    </p:embeddedFont>
  </p:embeddedFontLst>
  <p:custDataLst>
    <p:tags r:id="rId39"/>
  </p:custDataLst>
  <p:defaultTextStyle>
    <a:defPPr>
      <a:defRPr lang="it-IT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6057" autoAdjust="0"/>
  </p:normalViewPr>
  <p:slideViewPr>
    <p:cSldViewPr>
      <p:cViewPr>
        <p:scale>
          <a:sx n="80" d="100"/>
          <a:sy n="80" d="100"/>
        </p:scale>
        <p:origin x="-58" y="8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21" Type="http://schemas.openxmlformats.org/officeDocument/2006/relationships/slide" Target="slides/slide20.xml"/><Relationship Id="rId34" Type="http://schemas.openxmlformats.org/officeDocument/2006/relationships/font" Target="fonts/font1.fntdata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font" Target="fonts/font4.fntdata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3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font" Target="fonts/font2.fntdata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font" Target="fonts/font5.fntdata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hyperlink" Target="http://tfig.unece.org/contents/joint-border-controls.htm" TargetMode="External"/><Relationship Id="rId3" Type="http://schemas.openxmlformats.org/officeDocument/2006/relationships/hyperlink" Target="http://tfig.unece.org/contents/deferred-payment.htm" TargetMode="External"/><Relationship Id="rId7" Type="http://schemas.openxmlformats.org/officeDocument/2006/relationships/hyperlink" Target="http://tfig.unece.org/contents/coordinated-intervention.htm" TargetMode="External"/><Relationship Id="rId2" Type="http://schemas.openxmlformats.org/officeDocument/2006/relationships/hyperlink" Target="http://tfig.unece.org/contents/electronic-payment-customs-duties-and-taxes.htm" TargetMode="External"/><Relationship Id="rId1" Type="http://schemas.openxmlformats.org/officeDocument/2006/relationships/hyperlink" Target="http://tfig.unece.org/contents/customs-risk-management.htm" TargetMode="External"/><Relationship Id="rId6" Type="http://schemas.openxmlformats.org/officeDocument/2006/relationships/hyperlink" Target="http://tfig.unece.org/contents/de-minimis.htm" TargetMode="External"/><Relationship Id="rId5" Type="http://schemas.openxmlformats.org/officeDocument/2006/relationships/hyperlink" Target="http://tfig.unece.org/contents/prearrival-processing.htm" TargetMode="External"/><Relationship Id="rId4" Type="http://schemas.openxmlformats.org/officeDocument/2006/relationships/hyperlink" Target="http://tfig.unece.org/contents/authorized-traders.htm" TargetMode="External"/><Relationship Id="rId9" Type="http://schemas.openxmlformats.org/officeDocument/2006/relationships/hyperlink" Target="http://tfig.unece.org/contents/opening-hours.htm" TargetMode="External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hyperlink" Target="http://tfig.unece.org/contents/joint-border-controls.htm" TargetMode="External"/><Relationship Id="rId3" Type="http://schemas.openxmlformats.org/officeDocument/2006/relationships/hyperlink" Target="http://tfig.unece.org/contents/electronic-payment-customs-duties-and-taxes.htm" TargetMode="External"/><Relationship Id="rId7" Type="http://schemas.openxmlformats.org/officeDocument/2006/relationships/hyperlink" Target="http://tfig.unece.org/contents/coordinated-intervention.htm" TargetMode="External"/><Relationship Id="rId2" Type="http://schemas.openxmlformats.org/officeDocument/2006/relationships/hyperlink" Target="http://tfig.unece.org/contents/prearrival-processing.htm" TargetMode="External"/><Relationship Id="rId1" Type="http://schemas.openxmlformats.org/officeDocument/2006/relationships/hyperlink" Target="http://tfig.unece.org/contents/customs-risk-management.htm" TargetMode="External"/><Relationship Id="rId6" Type="http://schemas.openxmlformats.org/officeDocument/2006/relationships/hyperlink" Target="http://tfig.unece.org/contents/de-minimis.htm" TargetMode="External"/><Relationship Id="rId5" Type="http://schemas.openxmlformats.org/officeDocument/2006/relationships/hyperlink" Target="http://tfig.unece.org/contents/authorized-traders.htm" TargetMode="External"/><Relationship Id="rId4" Type="http://schemas.openxmlformats.org/officeDocument/2006/relationships/hyperlink" Target="http://tfig.unece.org/contents/deferred-payment.htm" TargetMode="External"/><Relationship Id="rId9" Type="http://schemas.openxmlformats.org/officeDocument/2006/relationships/hyperlink" Target="http://tfig.unece.org/contents/opening-hours.htm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B2195E5-314D-44B1-9520-29A34BAFD662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9430C25-5300-4D6B-BFC5-62453C0989BF}">
      <dgm:prSet phldrT="[Text]"/>
      <dgm:spPr/>
      <dgm:t>
        <a:bodyPr/>
        <a:lstStyle/>
        <a:p>
          <a:r>
            <a:t>Menaxhimi i rrezikut në dogana</a:t>
          </a:r>
          <a:endParaRPr lang="sq-AL" dirty="0"/>
        </a:p>
      </dgm:t>
    </dgm:pt>
    <dgm:pt modelId="{F47B457A-E1B7-487B-BDC2-206DDBD8CACE}" type="parTrans" cxnId="{E7493944-3F05-4054-A266-2AD2B8E62D4C}">
      <dgm:prSet/>
      <dgm:spPr/>
      <dgm:t>
        <a:bodyPr/>
        <a:lstStyle/>
        <a:p>
          <a:endParaRPr lang="en-US"/>
        </a:p>
      </dgm:t>
    </dgm:pt>
    <dgm:pt modelId="{6ABE72A6-C095-47D2-9C08-7175451462D8}" type="sibTrans" cxnId="{E7493944-3F05-4054-A266-2AD2B8E62D4C}">
      <dgm:prSet/>
      <dgm:spPr/>
      <dgm:t>
        <a:bodyPr/>
        <a:lstStyle/>
        <a:p>
          <a:endParaRPr lang="en-US"/>
        </a:p>
      </dgm:t>
    </dgm:pt>
    <dgm:pt modelId="{1D7212E5-195F-4652-9609-08E1B639312D}">
      <dgm:prSet phldrT="[Text]"/>
      <dgm:spPr/>
      <dgm:t>
        <a:bodyPr/>
        <a:lstStyle/>
        <a:p>
          <a:r>
            <a:rPr lang="en-US" dirty="0" smtClean="0">
              <a:hlinkClick xmlns:r="http://schemas.openxmlformats.org/officeDocument/2006/relationships" r:id="rId1"/>
            </a:rPr>
            <a:t>Menaxhimi i rrezikut </a:t>
          </a:r>
          <a:r>
            <a:t>është baza për përzgjedhjen e bazuar në rrezik, e cila garanton që ndërprerjet bëhen kryesisht për ngarkesat me rrezik të lartë</a:t>
          </a:r>
          <a:endParaRPr lang="sq-AL" dirty="0"/>
        </a:p>
      </dgm:t>
    </dgm:pt>
    <dgm:pt modelId="{C9466AB0-302C-4C98-AF3B-E91AB512D6B6}" type="parTrans" cxnId="{14B3ECCA-A190-4AF7-A242-8D5D517492CC}">
      <dgm:prSet/>
      <dgm:spPr/>
      <dgm:t>
        <a:bodyPr/>
        <a:lstStyle/>
        <a:p>
          <a:endParaRPr lang="en-US"/>
        </a:p>
      </dgm:t>
    </dgm:pt>
    <dgm:pt modelId="{579C8816-0DE6-4F88-9160-287592C994A8}" type="sibTrans" cxnId="{14B3ECCA-A190-4AF7-A242-8D5D517492CC}">
      <dgm:prSet/>
      <dgm:spPr/>
      <dgm:t>
        <a:bodyPr/>
        <a:lstStyle/>
        <a:p>
          <a:endParaRPr lang="en-US"/>
        </a:p>
      </dgm:t>
    </dgm:pt>
    <dgm:pt modelId="{C1C307C3-0108-41A0-9A22-DAA1E05602D4}">
      <dgm:prSet phldrT="[Text]"/>
      <dgm:spPr/>
      <dgm:t>
        <a:bodyPr/>
        <a:lstStyle/>
        <a:p>
          <a:r>
            <a:t>Përpunimi përpara mbërritjes</a:t>
          </a:r>
          <a:endParaRPr lang="sq-AL" dirty="0"/>
        </a:p>
      </dgm:t>
    </dgm:pt>
    <dgm:pt modelId="{674C6E5F-7B57-4992-90F7-1E5096158248}" type="parTrans" cxnId="{851C9C97-7940-46B5-BACA-20080D747D8A}">
      <dgm:prSet/>
      <dgm:spPr/>
      <dgm:t>
        <a:bodyPr/>
        <a:lstStyle/>
        <a:p>
          <a:endParaRPr lang="en-US"/>
        </a:p>
      </dgm:t>
    </dgm:pt>
    <dgm:pt modelId="{7D0A7B79-0B4C-4058-99A5-185D0224231C}" type="sibTrans" cxnId="{851C9C97-7940-46B5-BACA-20080D747D8A}">
      <dgm:prSet/>
      <dgm:spPr/>
      <dgm:t>
        <a:bodyPr/>
        <a:lstStyle/>
        <a:p>
          <a:endParaRPr lang="en-US"/>
        </a:p>
      </dgm:t>
    </dgm:pt>
    <dgm:pt modelId="{FDCFED1E-76E3-4567-8E77-808BE20F66D2}">
      <dgm:prSet phldrT="[Text]"/>
      <dgm:spPr/>
      <dgm:t>
        <a:bodyPr/>
        <a:lstStyle/>
        <a:p>
          <a:r>
            <a:t>Marrëveshjet për </a:t>
          </a:r>
          <a:r>
            <a:rPr lang="en-US" dirty="0" smtClean="0">
              <a:hlinkClick xmlns:r="http://schemas.openxmlformats.org/officeDocument/2006/relationships" r:id="rId2"/>
            </a:rPr>
            <a:t>pagesat elektronike</a:t>
          </a:r>
          <a:r>
            <a:t> si dhe për </a:t>
          </a:r>
          <a:r>
            <a:rPr lang="en-US" dirty="0" smtClean="0">
              <a:hlinkClick xmlns:r="http://schemas.openxmlformats.org/officeDocument/2006/relationships" r:id="rId3"/>
            </a:rPr>
            <a:t>detyrimet/taksat e shtyra</a:t>
          </a:r>
          <a:r>
            <a:t> reduktojnë menaxhimin e parave cash/çeqeve që konsumojnë kohë gjatë importit.</a:t>
          </a:r>
          <a:endParaRPr lang="sq-AL" dirty="0"/>
        </a:p>
      </dgm:t>
    </dgm:pt>
    <dgm:pt modelId="{010AB880-DB7B-4F01-B5EB-234262A95810}" type="parTrans" cxnId="{0985A75D-0528-460E-85EC-C5A0A8EE2B65}">
      <dgm:prSet/>
      <dgm:spPr/>
      <dgm:t>
        <a:bodyPr/>
        <a:lstStyle/>
        <a:p>
          <a:endParaRPr lang="en-US"/>
        </a:p>
      </dgm:t>
    </dgm:pt>
    <dgm:pt modelId="{3BB56987-3404-436E-8E25-ABC7435D4248}" type="sibTrans" cxnId="{0985A75D-0528-460E-85EC-C5A0A8EE2B65}">
      <dgm:prSet/>
      <dgm:spPr/>
      <dgm:t>
        <a:bodyPr/>
        <a:lstStyle/>
        <a:p>
          <a:endParaRPr lang="en-US"/>
        </a:p>
      </dgm:t>
    </dgm:pt>
    <dgm:pt modelId="{2B6C9D65-74A3-45CC-BB68-984F06F83E1E}">
      <dgm:prSet phldrT="[Text]"/>
      <dgm:spPr/>
      <dgm:t>
        <a:bodyPr/>
        <a:lstStyle/>
        <a:p>
          <a:r>
            <a:t>Tregtarët e autorizuar</a:t>
          </a:r>
          <a:endParaRPr lang="sq-AL" dirty="0"/>
        </a:p>
      </dgm:t>
    </dgm:pt>
    <dgm:pt modelId="{D2166404-7BF9-4ACF-B32F-9559FF1C657C}" type="parTrans" cxnId="{BA5403C4-844C-4EEC-9E3A-0B63E75AFBFA}">
      <dgm:prSet/>
      <dgm:spPr/>
      <dgm:t>
        <a:bodyPr/>
        <a:lstStyle/>
        <a:p>
          <a:endParaRPr lang="en-US"/>
        </a:p>
      </dgm:t>
    </dgm:pt>
    <dgm:pt modelId="{28AD69F4-9E82-4648-99D6-72289892316F}" type="sibTrans" cxnId="{BA5403C4-844C-4EEC-9E3A-0B63E75AFBFA}">
      <dgm:prSet/>
      <dgm:spPr/>
      <dgm:t>
        <a:bodyPr/>
        <a:lstStyle/>
        <a:p>
          <a:endParaRPr lang="en-US"/>
        </a:p>
      </dgm:t>
    </dgm:pt>
    <dgm:pt modelId="{CDE4CC4C-65A0-4696-95AD-38B52C6C4B1F}">
      <dgm:prSet phldrT="[Text]"/>
      <dgm:spPr/>
      <dgm:t>
        <a:bodyPr/>
        <a:lstStyle/>
        <a:p>
          <a:r>
            <a:t>Programet për</a:t>
          </a:r>
          <a:r>
            <a:rPr lang="en-US" dirty="0" smtClean="0">
              <a:hlinkClick xmlns:r="http://schemas.openxmlformats.org/officeDocument/2006/relationships" r:id="rId4"/>
            </a:rPr>
            <a:t>tregtarët e autorizuar </a:t>
          </a:r>
          <a:r>
            <a:t>mundësojnë që doganat t'i rendisin tregtarët që respektojnë rregullat si tregtarë me rrezik të ulët, duke u bazuar në historikun e tyre tregtar/të zhdoganimit, duke çuar në reduktimin e kohës së zhdoganimit.</a:t>
          </a:r>
          <a:endParaRPr lang="sq-AL" dirty="0"/>
        </a:p>
      </dgm:t>
    </dgm:pt>
    <dgm:pt modelId="{88F1A7E7-6BEB-4EE0-97BB-551159051714}" type="parTrans" cxnId="{415D045A-6BAA-4824-8FBA-471F883D769B}">
      <dgm:prSet/>
      <dgm:spPr/>
      <dgm:t>
        <a:bodyPr/>
        <a:lstStyle/>
        <a:p>
          <a:endParaRPr lang="en-US"/>
        </a:p>
      </dgm:t>
    </dgm:pt>
    <dgm:pt modelId="{E5CD2B29-11B8-4BF1-960E-53CF1C6CC853}" type="sibTrans" cxnId="{415D045A-6BAA-4824-8FBA-471F883D769B}">
      <dgm:prSet/>
      <dgm:spPr/>
      <dgm:t>
        <a:bodyPr/>
        <a:lstStyle/>
        <a:p>
          <a:endParaRPr lang="en-US"/>
        </a:p>
      </dgm:t>
    </dgm:pt>
    <dgm:pt modelId="{684BF0D0-A2F9-44DF-9865-39DE5CFBC9F6}">
      <dgm:prSet phldrT="[Text]"/>
      <dgm:spPr/>
      <dgm:t>
        <a:bodyPr/>
        <a:lstStyle/>
        <a:p>
          <a:r>
            <a:t>Pagesat</a:t>
          </a:r>
          <a:endParaRPr lang="sq-AL" dirty="0"/>
        </a:p>
      </dgm:t>
    </dgm:pt>
    <dgm:pt modelId="{F28290B6-FFC5-4F79-A97C-7E39BEB07AEC}" type="parTrans" cxnId="{11FAC6C8-044A-4CAF-A6E5-0583B6CEC639}">
      <dgm:prSet/>
      <dgm:spPr/>
      <dgm:t>
        <a:bodyPr/>
        <a:lstStyle/>
        <a:p>
          <a:endParaRPr lang="en-US"/>
        </a:p>
      </dgm:t>
    </dgm:pt>
    <dgm:pt modelId="{06F942F0-328E-4722-B8F8-01D1360CA645}" type="sibTrans" cxnId="{11FAC6C8-044A-4CAF-A6E5-0583B6CEC639}">
      <dgm:prSet/>
      <dgm:spPr/>
      <dgm:t>
        <a:bodyPr/>
        <a:lstStyle/>
        <a:p>
          <a:endParaRPr lang="en-US"/>
        </a:p>
      </dgm:t>
    </dgm:pt>
    <dgm:pt modelId="{8D6A27C4-A421-489B-A851-DE9D88CC5BB6}">
      <dgm:prSet/>
      <dgm:spPr/>
      <dgm:t>
        <a:bodyPr/>
        <a:lstStyle/>
        <a:p>
          <a:r>
            <a:t>De Minimis</a:t>
          </a:r>
          <a:endParaRPr lang="sq-AL" dirty="0"/>
        </a:p>
      </dgm:t>
    </dgm:pt>
    <dgm:pt modelId="{5772C388-124F-42D5-8DEC-7D3B473A1D4C}" type="parTrans" cxnId="{DDE12F7A-DE88-43BF-BC16-C4398C01B6AA}">
      <dgm:prSet/>
      <dgm:spPr/>
      <dgm:t>
        <a:bodyPr/>
        <a:lstStyle/>
        <a:p>
          <a:endParaRPr lang="en-US"/>
        </a:p>
      </dgm:t>
    </dgm:pt>
    <dgm:pt modelId="{6557A91D-142D-4B66-A4F4-5CF85BC1982A}" type="sibTrans" cxnId="{DDE12F7A-DE88-43BF-BC16-C4398C01B6AA}">
      <dgm:prSet/>
      <dgm:spPr/>
      <dgm:t>
        <a:bodyPr/>
        <a:lstStyle/>
        <a:p>
          <a:endParaRPr lang="en-US"/>
        </a:p>
      </dgm:t>
    </dgm:pt>
    <dgm:pt modelId="{7E448C39-0CED-48BE-9C51-0C83281C84F6}">
      <dgm:prSet/>
      <dgm:spPr/>
      <dgm:t>
        <a:bodyPr/>
        <a:lstStyle/>
        <a:p>
          <a:r>
            <a:rPr lang="en-US" dirty="0" smtClean="0">
              <a:hlinkClick xmlns:r="http://schemas.openxmlformats.org/officeDocument/2006/relationships" r:id="rId5"/>
            </a:rPr>
            <a:t>Përpunimi përpara mbërritjes</a:t>
          </a:r>
          <a:r>
            <a:t> ka të bëjë me përdorimin optimal të kohës për vlerësimin e rrezikut dhe vendimet e zhdoganimit gjatë transportit të mallrave. Kjo çon në zhdoganimin menjëherë pas mbërritjes.</a:t>
          </a:r>
          <a:endParaRPr lang="sq-AL" dirty="0"/>
        </a:p>
      </dgm:t>
    </dgm:pt>
    <dgm:pt modelId="{CF23BE84-B49E-4E26-B422-C6D043EA9813}" type="parTrans" cxnId="{49E838FC-91CE-4D9C-9DD1-2D09A5D50000}">
      <dgm:prSet/>
      <dgm:spPr/>
      <dgm:t>
        <a:bodyPr/>
        <a:lstStyle/>
        <a:p>
          <a:endParaRPr lang="en-US"/>
        </a:p>
      </dgm:t>
    </dgm:pt>
    <dgm:pt modelId="{3668A658-CF2A-41E9-A745-4EE44F5BB95A}" type="sibTrans" cxnId="{49E838FC-91CE-4D9C-9DD1-2D09A5D50000}">
      <dgm:prSet/>
      <dgm:spPr/>
      <dgm:t>
        <a:bodyPr/>
        <a:lstStyle/>
        <a:p>
          <a:endParaRPr lang="en-US"/>
        </a:p>
      </dgm:t>
    </dgm:pt>
    <dgm:pt modelId="{FD928B97-E67A-45D5-B55B-4EECE1828E05}">
      <dgm:prSet/>
      <dgm:spPr/>
      <dgm:t>
        <a:bodyPr/>
        <a:lstStyle/>
        <a:p>
          <a:r>
            <a:t>Regjimet </a:t>
          </a:r>
          <a:r>
            <a:rPr lang="en-US" dirty="0" smtClean="0">
              <a:hlinkClick xmlns:r="http://schemas.openxmlformats.org/officeDocument/2006/relationships" r:id="rId6"/>
            </a:rPr>
            <a:t>De Minimis</a:t>
          </a:r>
          <a:r>
            <a:t> ndihmojnë në reduktimin e formaliteteve për ngarkesat e vogla, me vlerë të ulët apo ngarkesa që nuk i nënshtrohen detyrimeve doganore.</a:t>
          </a:r>
          <a:endParaRPr lang="sq-AL" dirty="0"/>
        </a:p>
      </dgm:t>
    </dgm:pt>
    <dgm:pt modelId="{A080DCE7-0059-42A1-8906-26A7491E8632}" type="parTrans" cxnId="{9AB15F38-DE70-49F3-B97A-722CB3B8A83C}">
      <dgm:prSet/>
      <dgm:spPr/>
      <dgm:t>
        <a:bodyPr/>
        <a:lstStyle/>
        <a:p>
          <a:endParaRPr lang="en-US"/>
        </a:p>
      </dgm:t>
    </dgm:pt>
    <dgm:pt modelId="{6B555CD7-FF1C-4193-B368-C5DA8CF9D80B}" type="sibTrans" cxnId="{9AB15F38-DE70-49F3-B97A-722CB3B8A83C}">
      <dgm:prSet/>
      <dgm:spPr/>
      <dgm:t>
        <a:bodyPr/>
        <a:lstStyle/>
        <a:p>
          <a:endParaRPr lang="en-US"/>
        </a:p>
      </dgm:t>
    </dgm:pt>
    <dgm:pt modelId="{EAB997C8-D0E3-45DF-8EBC-3EF142F42A37}">
      <dgm:prSet/>
      <dgm:spPr/>
      <dgm:t>
        <a:bodyPr/>
        <a:lstStyle/>
        <a:p>
          <a:r>
            <a:t>Ndërhyrja e koordinuar</a:t>
          </a:r>
          <a:endParaRPr lang="sq-AL" dirty="0"/>
        </a:p>
      </dgm:t>
    </dgm:pt>
    <dgm:pt modelId="{ED2457F5-76C2-43B6-86A3-CA67902CAD2D}" type="parTrans" cxnId="{74517E85-3E09-498E-8656-87F710AF1890}">
      <dgm:prSet/>
      <dgm:spPr/>
      <dgm:t>
        <a:bodyPr/>
        <a:lstStyle/>
        <a:p>
          <a:endParaRPr lang="en-US"/>
        </a:p>
      </dgm:t>
    </dgm:pt>
    <dgm:pt modelId="{89E6207F-5B37-4D98-B57A-E423C5999060}" type="sibTrans" cxnId="{74517E85-3E09-498E-8656-87F710AF1890}">
      <dgm:prSet/>
      <dgm:spPr/>
      <dgm:t>
        <a:bodyPr/>
        <a:lstStyle/>
        <a:p>
          <a:endParaRPr lang="en-US"/>
        </a:p>
      </dgm:t>
    </dgm:pt>
    <dgm:pt modelId="{113A9003-B202-42DE-96AD-3A20C86234C0}">
      <dgm:prSet/>
      <dgm:spPr/>
      <dgm:t>
        <a:bodyPr/>
        <a:lstStyle/>
        <a:p>
          <a:r>
            <a:t>Kontrollet e përbashkëta kufitare</a:t>
          </a:r>
          <a:endParaRPr lang="sq-AL" dirty="0"/>
        </a:p>
      </dgm:t>
    </dgm:pt>
    <dgm:pt modelId="{C8630636-F954-440E-8E63-59D37A188627}" type="parTrans" cxnId="{5D0891E8-3AF8-4477-A852-265E97245305}">
      <dgm:prSet/>
      <dgm:spPr/>
      <dgm:t>
        <a:bodyPr/>
        <a:lstStyle/>
        <a:p>
          <a:endParaRPr lang="en-US"/>
        </a:p>
      </dgm:t>
    </dgm:pt>
    <dgm:pt modelId="{7B813818-B37E-4898-8EC9-88A01BD4AAA9}" type="sibTrans" cxnId="{5D0891E8-3AF8-4477-A852-265E97245305}">
      <dgm:prSet/>
      <dgm:spPr/>
      <dgm:t>
        <a:bodyPr/>
        <a:lstStyle/>
        <a:p>
          <a:endParaRPr lang="en-US"/>
        </a:p>
      </dgm:t>
    </dgm:pt>
    <dgm:pt modelId="{7290F68E-ABA6-4B2D-9B00-760F59ABB1A8}">
      <dgm:prSet/>
      <dgm:spPr/>
      <dgm:t>
        <a:bodyPr/>
        <a:lstStyle/>
        <a:p>
          <a:r>
            <a:rPr lang="en-US" dirty="0" smtClean="0">
              <a:hlinkClick xmlns:r="http://schemas.openxmlformats.org/officeDocument/2006/relationships" r:id="rId7"/>
            </a:rPr>
            <a:t>Ndërhyrja e koordinuar</a:t>
          </a:r>
          <a:r>
            <a:t> kërkon që të gjitha agjencitë përkatëse kufitare të punojnë së bashku dhe të kryejnë kontrolle fizike në të njëjtën kohë.</a:t>
          </a:r>
          <a:endParaRPr lang="sq-AL" dirty="0"/>
        </a:p>
      </dgm:t>
    </dgm:pt>
    <dgm:pt modelId="{92AD0B98-B7FD-4A75-B28C-40E5A237705C}" type="parTrans" cxnId="{1848F37E-1804-4DCB-A905-4186D929E611}">
      <dgm:prSet/>
      <dgm:spPr/>
      <dgm:t>
        <a:bodyPr/>
        <a:lstStyle/>
        <a:p>
          <a:endParaRPr lang="en-GB"/>
        </a:p>
      </dgm:t>
    </dgm:pt>
    <dgm:pt modelId="{FBF6A8FE-11C4-4742-B2FE-A2A9F21F58E8}" type="sibTrans" cxnId="{1848F37E-1804-4DCB-A905-4186D929E611}">
      <dgm:prSet/>
      <dgm:spPr/>
      <dgm:t>
        <a:bodyPr/>
        <a:lstStyle/>
        <a:p>
          <a:endParaRPr lang="en-GB"/>
        </a:p>
      </dgm:t>
    </dgm:pt>
    <dgm:pt modelId="{CA29948D-7B66-4987-8AA8-18111343E71B}">
      <dgm:prSet/>
      <dgm:spPr/>
      <dgm:t>
        <a:bodyPr/>
        <a:lstStyle/>
        <a:p>
          <a:r>
            <a:t>Shtetet fqinje që kryejnë importe dhe eksporte duhet të koordinohen për të kryer veprimtari </a:t>
          </a:r>
          <a:r>
            <a:rPr lang="en-US" dirty="0" smtClean="0">
              <a:hlinkClick xmlns:r="http://schemas.openxmlformats.org/officeDocument/2006/relationships" r:id="rId8"/>
            </a:rPr>
            <a:t>të përbashkëta zhdoganimi dhe kontrolli në kufi</a:t>
          </a:r>
          <a:r>
            <a:t>, p.sh. </a:t>
          </a:r>
          <a:r>
            <a:rPr lang="en-US" dirty="0" smtClean="0">
              <a:hlinkClick xmlns:r="http://schemas.openxmlformats.org/officeDocument/2006/relationships" r:id="rId9"/>
            </a:rPr>
            <a:t>oraret e punës</a:t>
          </a:r>
          <a:r>
            <a:t>, shmangien e ndërprerjeve gjatë procesit të kalimit të kufirit. </a:t>
          </a:r>
          <a:endParaRPr lang="sq-AL" dirty="0"/>
        </a:p>
      </dgm:t>
    </dgm:pt>
    <dgm:pt modelId="{957E7428-9A91-4720-9B6D-550D08971933}" type="parTrans" cxnId="{45DF7B4A-A681-4DAF-889B-5A2AAD455AC9}">
      <dgm:prSet/>
      <dgm:spPr/>
      <dgm:t>
        <a:bodyPr/>
        <a:lstStyle/>
        <a:p>
          <a:endParaRPr lang="en-GB"/>
        </a:p>
      </dgm:t>
    </dgm:pt>
    <dgm:pt modelId="{D6BF56F7-918F-4883-B8D8-2C1E6B441F07}" type="sibTrans" cxnId="{45DF7B4A-A681-4DAF-889B-5A2AAD455AC9}">
      <dgm:prSet/>
      <dgm:spPr/>
      <dgm:t>
        <a:bodyPr/>
        <a:lstStyle/>
        <a:p>
          <a:endParaRPr lang="en-GB"/>
        </a:p>
      </dgm:t>
    </dgm:pt>
    <dgm:pt modelId="{5A7F55C3-4E3F-47A0-A7C5-58006CC6A02F}" type="pres">
      <dgm:prSet presAssocID="{0B2195E5-314D-44B1-9520-29A34BAFD662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A472CCD-7D03-4D9F-8D37-F46EC1BF01CE}" type="pres">
      <dgm:prSet presAssocID="{29430C25-5300-4D6B-BFC5-62453C0989BF}" presName="composite" presStyleCnt="0"/>
      <dgm:spPr/>
    </dgm:pt>
    <dgm:pt modelId="{CCDD824E-F8AC-4CFD-99C6-AAF294B51355}" type="pres">
      <dgm:prSet presAssocID="{29430C25-5300-4D6B-BFC5-62453C0989BF}" presName="parentText" presStyleLbl="alignNode1" presStyleIdx="0" presStyleCnt="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F8761D6-7AD1-4C72-841A-2D58C650A46C}" type="pres">
      <dgm:prSet presAssocID="{29430C25-5300-4D6B-BFC5-62453C0989BF}" presName="descendantText" presStyleLbl="alignAcc1" presStyleIdx="0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E8C78D7-49FF-4FC9-8F77-2732DED8A858}" type="pres">
      <dgm:prSet presAssocID="{6ABE72A6-C095-47D2-9C08-7175451462D8}" presName="sp" presStyleCnt="0"/>
      <dgm:spPr/>
    </dgm:pt>
    <dgm:pt modelId="{5F9D4BE4-7D51-450A-BDD9-8957DE48FB74}" type="pres">
      <dgm:prSet presAssocID="{C1C307C3-0108-41A0-9A22-DAA1E05602D4}" presName="composite" presStyleCnt="0"/>
      <dgm:spPr/>
    </dgm:pt>
    <dgm:pt modelId="{A0852915-5E49-46BA-9B91-C17F820D1FC4}" type="pres">
      <dgm:prSet presAssocID="{C1C307C3-0108-41A0-9A22-DAA1E05602D4}" presName="parentText" presStyleLbl="alignNode1" presStyleIdx="1" presStyleCnt="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4425A92-33D1-4EAD-A25F-3492F26B48DF}" type="pres">
      <dgm:prSet presAssocID="{C1C307C3-0108-41A0-9A22-DAA1E05602D4}" presName="descendantText" presStyleLbl="alignAcc1" presStyleIdx="1" presStyleCnt="7" custLinFactNeighborX="230" custLinFactNeighborY="-166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975B63-0300-4E78-B3CA-B20571A68B00}" type="pres">
      <dgm:prSet presAssocID="{7D0A7B79-0B4C-4058-99A5-185D0224231C}" presName="sp" presStyleCnt="0"/>
      <dgm:spPr/>
    </dgm:pt>
    <dgm:pt modelId="{C2126125-F7AB-481D-894B-CEACF1EE60BB}" type="pres">
      <dgm:prSet presAssocID="{684BF0D0-A2F9-44DF-9865-39DE5CFBC9F6}" presName="composite" presStyleCnt="0"/>
      <dgm:spPr/>
    </dgm:pt>
    <dgm:pt modelId="{AF9BD097-348F-43A9-996D-3259C6CE9537}" type="pres">
      <dgm:prSet presAssocID="{684BF0D0-A2F9-44DF-9865-39DE5CFBC9F6}" presName="parentText" presStyleLbl="alignNode1" presStyleIdx="2" presStyleCnt="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211B2E2-C84A-4B5A-B0BB-3F2C5108F67E}" type="pres">
      <dgm:prSet presAssocID="{684BF0D0-A2F9-44DF-9865-39DE5CFBC9F6}" presName="descendantText" presStyleLbl="alignAcc1" presStyleIdx="2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BC52460-35CD-414A-8A5B-1CB1B1A00734}" type="pres">
      <dgm:prSet presAssocID="{06F942F0-328E-4722-B8F8-01D1360CA645}" presName="sp" presStyleCnt="0"/>
      <dgm:spPr/>
    </dgm:pt>
    <dgm:pt modelId="{0B1B348C-C020-4672-8259-6F9B80023E6D}" type="pres">
      <dgm:prSet presAssocID="{2B6C9D65-74A3-45CC-BB68-984F06F83E1E}" presName="composite" presStyleCnt="0"/>
      <dgm:spPr/>
    </dgm:pt>
    <dgm:pt modelId="{D772B9D5-F581-47C0-98CB-7B25A5FF2C4C}" type="pres">
      <dgm:prSet presAssocID="{2B6C9D65-74A3-45CC-BB68-984F06F83E1E}" presName="parentText" presStyleLbl="alignNode1" presStyleIdx="3" presStyleCnt="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C6DA494-7721-47C3-BA66-BBB271D49E22}" type="pres">
      <dgm:prSet presAssocID="{2B6C9D65-74A3-45CC-BB68-984F06F83E1E}" presName="descendantText" presStyleLbl="alignAcc1" presStyleIdx="3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2D7B306-356F-45EE-94D5-A418B64911D2}" type="pres">
      <dgm:prSet presAssocID="{28AD69F4-9E82-4648-99D6-72289892316F}" presName="sp" presStyleCnt="0"/>
      <dgm:spPr/>
    </dgm:pt>
    <dgm:pt modelId="{AD349DAD-58EA-41E5-899D-D492B6625A17}" type="pres">
      <dgm:prSet presAssocID="{8D6A27C4-A421-489B-A851-DE9D88CC5BB6}" presName="composite" presStyleCnt="0"/>
      <dgm:spPr/>
    </dgm:pt>
    <dgm:pt modelId="{782DB8CD-087C-412E-8828-27309BB76A3A}" type="pres">
      <dgm:prSet presAssocID="{8D6A27C4-A421-489B-A851-DE9D88CC5BB6}" presName="parentText" presStyleLbl="alignNode1" presStyleIdx="4" presStyleCnt="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6002718-7C43-4DFB-B954-36D23FED707C}" type="pres">
      <dgm:prSet presAssocID="{8D6A27C4-A421-489B-A851-DE9D88CC5BB6}" presName="descendantText" presStyleLbl="alignAcc1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3CF973B-DC64-4FB0-B9D5-29388E7DE2AA}" type="pres">
      <dgm:prSet presAssocID="{6557A91D-142D-4B66-A4F4-5CF85BC1982A}" presName="sp" presStyleCnt="0"/>
      <dgm:spPr/>
    </dgm:pt>
    <dgm:pt modelId="{FA1356A9-7F12-49B1-97C2-78DDCDB42219}" type="pres">
      <dgm:prSet presAssocID="{EAB997C8-D0E3-45DF-8EBC-3EF142F42A37}" presName="composite" presStyleCnt="0"/>
      <dgm:spPr/>
    </dgm:pt>
    <dgm:pt modelId="{3F0E7EB6-FAFE-408E-9263-8F721C81A229}" type="pres">
      <dgm:prSet presAssocID="{EAB997C8-D0E3-45DF-8EBC-3EF142F42A37}" presName="parentText" presStyleLbl="alignNode1" presStyleIdx="5" presStyleCnt="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301D460-E8D9-472A-A627-AEF95C2E236C}" type="pres">
      <dgm:prSet presAssocID="{EAB997C8-D0E3-45DF-8EBC-3EF142F42A37}" presName="descendantText" presStyleLbl="alignAcc1" presStyleIdx="5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BEAA782-0C3C-4418-871A-7FF0D9B59B6E}" type="pres">
      <dgm:prSet presAssocID="{89E6207F-5B37-4D98-B57A-E423C5999060}" presName="sp" presStyleCnt="0"/>
      <dgm:spPr/>
    </dgm:pt>
    <dgm:pt modelId="{F25F7518-A66D-40E4-BB4D-E35B2AD8DA5E}" type="pres">
      <dgm:prSet presAssocID="{113A9003-B202-42DE-96AD-3A20C86234C0}" presName="composite" presStyleCnt="0"/>
      <dgm:spPr/>
    </dgm:pt>
    <dgm:pt modelId="{E468BF34-280D-4078-A60F-8E289D3A01CA}" type="pres">
      <dgm:prSet presAssocID="{113A9003-B202-42DE-96AD-3A20C86234C0}" presName="parentText" presStyleLbl="alignNode1" presStyleIdx="6" presStyleCnt="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2364523-5496-48E6-88E8-921B5141A6B7}" type="pres">
      <dgm:prSet presAssocID="{113A9003-B202-42DE-96AD-3A20C86234C0}" presName="descendantText" presStyleLbl="alignAcc1" presStyleIdx="6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A5403C4-844C-4EEC-9E3A-0B63E75AFBFA}" srcId="{0B2195E5-314D-44B1-9520-29A34BAFD662}" destId="{2B6C9D65-74A3-45CC-BB68-984F06F83E1E}" srcOrd="3" destOrd="0" parTransId="{D2166404-7BF9-4ACF-B32F-9559FF1C657C}" sibTransId="{28AD69F4-9E82-4648-99D6-72289892316F}"/>
    <dgm:cxn modelId="{E915DC74-5CF2-4065-BA8B-678BCFE8DC33}" type="presOf" srcId="{2B6C9D65-74A3-45CC-BB68-984F06F83E1E}" destId="{D772B9D5-F581-47C0-98CB-7B25A5FF2C4C}" srcOrd="0" destOrd="0" presId="urn:microsoft.com/office/officeart/2005/8/layout/chevron2"/>
    <dgm:cxn modelId="{74349B5B-30D0-46E0-A339-80BBE741F99E}" type="presOf" srcId="{FDCFED1E-76E3-4567-8E77-808BE20F66D2}" destId="{7211B2E2-C84A-4B5A-B0BB-3F2C5108F67E}" srcOrd="0" destOrd="0" presId="urn:microsoft.com/office/officeart/2005/8/layout/chevron2"/>
    <dgm:cxn modelId="{53C0F040-68BB-41D7-8F82-52A5D9B1359A}" type="presOf" srcId="{7E448C39-0CED-48BE-9C51-0C83281C84F6}" destId="{C4425A92-33D1-4EAD-A25F-3492F26B48DF}" srcOrd="0" destOrd="0" presId="urn:microsoft.com/office/officeart/2005/8/layout/chevron2"/>
    <dgm:cxn modelId="{11FAC6C8-044A-4CAF-A6E5-0583B6CEC639}" srcId="{0B2195E5-314D-44B1-9520-29A34BAFD662}" destId="{684BF0D0-A2F9-44DF-9865-39DE5CFBC9F6}" srcOrd="2" destOrd="0" parTransId="{F28290B6-FFC5-4F79-A97C-7E39BEB07AEC}" sibTransId="{06F942F0-328E-4722-B8F8-01D1360CA645}"/>
    <dgm:cxn modelId="{DDE12F7A-DE88-43BF-BC16-C4398C01B6AA}" srcId="{0B2195E5-314D-44B1-9520-29A34BAFD662}" destId="{8D6A27C4-A421-489B-A851-DE9D88CC5BB6}" srcOrd="4" destOrd="0" parTransId="{5772C388-124F-42D5-8DEC-7D3B473A1D4C}" sibTransId="{6557A91D-142D-4B66-A4F4-5CF85BC1982A}"/>
    <dgm:cxn modelId="{F853724E-162F-44E9-904D-E357AAD4FA18}" type="presOf" srcId="{0B2195E5-314D-44B1-9520-29A34BAFD662}" destId="{5A7F55C3-4E3F-47A0-A7C5-58006CC6A02F}" srcOrd="0" destOrd="0" presId="urn:microsoft.com/office/officeart/2005/8/layout/chevron2"/>
    <dgm:cxn modelId="{C954C8EF-3027-4597-9A0C-B4FC1E13EEFB}" type="presOf" srcId="{C1C307C3-0108-41A0-9A22-DAA1E05602D4}" destId="{A0852915-5E49-46BA-9B91-C17F820D1FC4}" srcOrd="0" destOrd="0" presId="urn:microsoft.com/office/officeart/2005/8/layout/chevron2"/>
    <dgm:cxn modelId="{E7493944-3F05-4054-A266-2AD2B8E62D4C}" srcId="{0B2195E5-314D-44B1-9520-29A34BAFD662}" destId="{29430C25-5300-4D6B-BFC5-62453C0989BF}" srcOrd="0" destOrd="0" parTransId="{F47B457A-E1B7-487B-BDC2-206DDBD8CACE}" sibTransId="{6ABE72A6-C095-47D2-9C08-7175451462D8}"/>
    <dgm:cxn modelId="{8F629F02-E132-481E-AB95-CC85C09581A1}" type="presOf" srcId="{1D7212E5-195F-4652-9609-08E1B639312D}" destId="{1F8761D6-7AD1-4C72-841A-2D58C650A46C}" srcOrd="0" destOrd="0" presId="urn:microsoft.com/office/officeart/2005/8/layout/chevron2"/>
    <dgm:cxn modelId="{463F17FA-49C3-4B10-9CED-8E9F1D018E94}" type="presOf" srcId="{684BF0D0-A2F9-44DF-9865-39DE5CFBC9F6}" destId="{AF9BD097-348F-43A9-996D-3259C6CE9537}" srcOrd="0" destOrd="0" presId="urn:microsoft.com/office/officeart/2005/8/layout/chevron2"/>
    <dgm:cxn modelId="{DBE52AEB-C44A-4E65-9E2B-AF321F67CBD0}" type="presOf" srcId="{29430C25-5300-4D6B-BFC5-62453C0989BF}" destId="{CCDD824E-F8AC-4CFD-99C6-AAF294B51355}" srcOrd="0" destOrd="0" presId="urn:microsoft.com/office/officeart/2005/8/layout/chevron2"/>
    <dgm:cxn modelId="{45DF7B4A-A681-4DAF-889B-5A2AAD455AC9}" srcId="{113A9003-B202-42DE-96AD-3A20C86234C0}" destId="{CA29948D-7B66-4987-8AA8-18111343E71B}" srcOrd="0" destOrd="0" parTransId="{957E7428-9A91-4720-9B6D-550D08971933}" sibTransId="{D6BF56F7-918F-4883-B8D8-2C1E6B441F07}"/>
    <dgm:cxn modelId="{BBDD588B-B0EE-4347-A4FD-6A597A35DC85}" type="presOf" srcId="{8D6A27C4-A421-489B-A851-DE9D88CC5BB6}" destId="{782DB8CD-087C-412E-8828-27309BB76A3A}" srcOrd="0" destOrd="0" presId="urn:microsoft.com/office/officeart/2005/8/layout/chevron2"/>
    <dgm:cxn modelId="{74517E85-3E09-498E-8656-87F710AF1890}" srcId="{0B2195E5-314D-44B1-9520-29A34BAFD662}" destId="{EAB997C8-D0E3-45DF-8EBC-3EF142F42A37}" srcOrd="5" destOrd="0" parTransId="{ED2457F5-76C2-43B6-86A3-CA67902CAD2D}" sibTransId="{89E6207F-5B37-4D98-B57A-E423C5999060}"/>
    <dgm:cxn modelId="{32103345-1EB1-4AA6-9AB0-2B2BD6C1D541}" type="presOf" srcId="{7290F68E-ABA6-4B2D-9B00-760F59ABB1A8}" destId="{C301D460-E8D9-472A-A627-AEF95C2E236C}" srcOrd="0" destOrd="0" presId="urn:microsoft.com/office/officeart/2005/8/layout/chevron2"/>
    <dgm:cxn modelId="{5D0891E8-3AF8-4477-A852-265E97245305}" srcId="{0B2195E5-314D-44B1-9520-29A34BAFD662}" destId="{113A9003-B202-42DE-96AD-3A20C86234C0}" srcOrd="6" destOrd="0" parTransId="{C8630636-F954-440E-8E63-59D37A188627}" sibTransId="{7B813818-B37E-4898-8EC9-88A01BD4AAA9}"/>
    <dgm:cxn modelId="{0985A75D-0528-460E-85EC-C5A0A8EE2B65}" srcId="{684BF0D0-A2F9-44DF-9865-39DE5CFBC9F6}" destId="{FDCFED1E-76E3-4567-8E77-808BE20F66D2}" srcOrd="0" destOrd="0" parTransId="{010AB880-DB7B-4F01-B5EB-234262A95810}" sibTransId="{3BB56987-3404-436E-8E25-ABC7435D4248}"/>
    <dgm:cxn modelId="{851C9C97-7940-46B5-BACA-20080D747D8A}" srcId="{0B2195E5-314D-44B1-9520-29A34BAFD662}" destId="{C1C307C3-0108-41A0-9A22-DAA1E05602D4}" srcOrd="1" destOrd="0" parTransId="{674C6E5F-7B57-4992-90F7-1E5096158248}" sibTransId="{7D0A7B79-0B4C-4058-99A5-185D0224231C}"/>
    <dgm:cxn modelId="{91EC5AB6-4DAB-4A6F-9BFA-09ECF19F0F75}" type="presOf" srcId="{CDE4CC4C-65A0-4696-95AD-38B52C6C4B1F}" destId="{2C6DA494-7721-47C3-BA66-BBB271D49E22}" srcOrd="0" destOrd="0" presId="urn:microsoft.com/office/officeart/2005/8/layout/chevron2"/>
    <dgm:cxn modelId="{7DE514B9-923A-46F8-819B-FBD4710603AB}" type="presOf" srcId="{EAB997C8-D0E3-45DF-8EBC-3EF142F42A37}" destId="{3F0E7EB6-FAFE-408E-9263-8F721C81A229}" srcOrd="0" destOrd="0" presId="urn:microsoft.com/office/officeart/2005/8/layout/chevron2"/>
    <dgm:cxn modelId="{1848F37E-1804-4DCB-A905-4186D929E611}" srcId="{EAB997C8-D0E3-45DF-8EBC-3EF142F42A37}" destId="{7290F68E-ABA6-4B2D-9B00-760F59ABB1A8}" srcOrd="0" destOrd="0" parTransId="{92AD0B98-B7FD-4A75-B28C-40E5A237705C}" sibTransId="{FBF6A8FE-11C4-4742-B2FE-A2A9F21F58E8}"/>
    <dgm:cxn modelId="{9AB15F38-DE70-49F3-B97A-722CB3B8A83C}" srcId="{8D6A27C4-A421-489B-A851-DE9D88CC5BB6}" destId="{FD928B97-E67A-45D5-B55B-4EECE1828E05}" srcOrd="0" destOrd="0" parTransId="{A080DCE7-0059-42A1-8906-26A7491E8632}" sibTransId="{6B555CD7-FF1C-4193-B368-C5DA8CF9D80B}"/>
    <dgm:cxn modelId="{14B3ECCA-A190-4AF7-A242-8D5D517492CC}" srcId="{29430C25-5300-4D6B-BFC5-62453C0989BF}" destId="{1D7212E5-195F-4652-9609-08E1B639312D}" srcOrd="0" destOrd="0" parTransId="{C9466AB0-302C-4C98-AF3B-E91AB512D6B6}" sibTransId="{579C8816-0DE6-4F88-9160-287592C994A8}"/>
    <dgm:cxn modelId="{415D045A-6BAA-4824-8FBA-471F883D769B}" srcId="{2B6C9D65-74A3-45CC-BB68-984F06F83E1E}" destId="{CDE4CC4C-65A0-4696-95AD-38B52C6C4B1F}" srcOrd="0" destOrd="0" parTransId="{88F1A7E7-6BEB-4EE0-97BB-551159051714}" sibTransId="{E5CD2B29-11B8-4BF1-960E-53CF1C6CC853}"/>
    <dgm:cxn modelId="{05216126-85FF-4E74-A10E-0613249170FE}" type="presOf" srcId="{FD928B97-E67A-45D5-B55B-4EECE1828E05}" destId="{26002718-7C43-4DFB-B954-36D23FED707C}" srcOrd="0" destOrd="0" presId="urn:microsoft.com/office/officeart/2005/8/layout/chevron2"/>
    <dgm:cxn modelId="{B5304597-40BB-4E65-90F7-14930E72D5C4}" type="presOf" srcId="{113A9003-B202-42DE-96AD-3A20C86234C0}" destId="{E468BF34-280D-4078-A60F-8E289D3A01CA}" srcOrd="0" destOrd="0" presId="urn:microsoft.com/office/officeart/2005/8/layout/chevron2"/>
    <dgm:cxn modelId="{49E838FC-91CE-4D9C-9DD1-2D09A5D50000}" srcId="{C1C307C3-0108-41A0-9A22-DAA1E05602D4}" destId="{7E448C39-0CED-48BE-9C51-0C83281C84F6}" srcOrd="0" destOrd="0" parTransId="{CF23BE84-B49E-4E26-B422-C6D043EA9813}" sibTransId="{3668A658-CF2A-41E9-A745-4EE44F5BB95A}"/>
    <dgm:cxn modelId="{EBB5EFB7-8C50-427B-B792-7E7B3476A89C}" type="presOf" srcId="{CA29948D-7B66-4987-8AA8-18111343E71B}" destId="{72364523-5496-48E6-88E8-921B5141A6B7}" srcOrd="0" destOrd="0" presId="urn:microsoft.com/office/officeart/2005/8/layout/chevron2"/>
    <dgm:cxn modelId="{D3D4DDD7-9428-429A-B51B-B3A2EF0D661D}" type="presParOf" srcId="{5A7F55C3-4E3F-47A0-A7C5-58006CC6A02F}" destId="{3A472CCD-7D03-4D9F-8D37-F46EC1BF01CE}" srcOrd="0" destOrd="0" presId="urn:microsoft.com/office/officeart/2005/8/layout/chevron2"/>
    <dgm:cxn modelId="{63FE797F-E67E-43BD-8A22-BFF9BF6B549C}" type="presParOf" srcId="{3A472CCD-7D03-4D9F-8D37-F46EC1BF01CE}" destId="{CCDD824E-F8AC-4CFD-99C6-AAF294B51355}" srcOrd="0" destOrd="0" presId="urn:microsoft.com/office/officeart/2005/8/layout/chevron2"/>
    <dgm:cxn modelId="{FF84A511-AD28-42AC-8D07-956E22217B69}" type="presParOf" srcId="{3A472CCD-7D03-4D9F-8D37-F46EC1BF01CE}" destId="{1F8761D6-7AD1-4C72-841A-2D58C650A46C}" srcOrd="1" destOrd="0" presId="urn:microsoft.com/office/officeart/2005/8/layout/chevron2"/>
    <dgm:cxn modelId="{3B48D045-98AD-44D7-968F-F21E2C9FD9E5}" type="presParOf" srcId="{5A7F55C3-4E3F-47A0-A7C5-58006CC6A02F}" destId="{1E8C78D7-49FF-4FC9-8F77-2732DED8A858}" srcOrd="1" destOrd="0" presId="urn:microsoft.com/office/officeart/2005/8/layout/chevron2"/>
    <dgm:cxn modelId="{F56842EF-7758-4ED6-946D-05F3368078BC}" type="presParOf" srcId="{5A7F55C3-4E3F-47A0-A7C5-58006CC6A02F}" destId="{5F9D4BE4-7D51-450A-BDD9-8957DE48FB74}" srcOrd="2" destOrd="0" presId="urn:microsoft.com/office/officeart/2005/8/layout/chevron2"/>
    <dgm:cxn modelId="{96AC10BE-65E7-4EF2-B0B2-318F793D802C}" type="presParOf" srcId="{5F9D4BE4-7D51-450A-BDD9-8957DE48FB74}" destId="{A0852915-5E49-46BA-9B91-C17F820D1FC4}" srcOrd="0" destOrd="0" presId="urn:microsoft.com/office/officeart/2005/8/layout/chevron2"/>
    <dgm:cxn modelId="{D63A1F7B-6705-41F8-A6AC-09C91E9D47C3}" type="presParOf" srcId="{5F9D4BE4-7D51-450A-BDD9-8957DE48FB74}" destId="{C4425A92-33D1-4EAD-A25F-3492F26B48DF}" srcOrd="1" destOrd="0" presId="urn:microsoft.com/office/officeart/2005/8/layout/chevron2"/>
    <dgm:cxn modelId="{5F6D71A3-8427-4CDC-B648-11FAFF201885}" type="presParOf" srcId="{5A7F55C3-4E3F-47A0-A7C5-58006CC6A02F}" destId="{0E975B63-0300-4E78-B3CA-B20571A68B00}" srcOrd="3" destOrd="0" presId="urn:microsoft.com/office/officeart/2005/8/layout/chevron2"/>
    <dgm:cxn modelId="{96D9EBB9-E864-40B9-AB86-44B934AF4495}" type="presParOf" srcId="{5A7F55C3-4E3F-47A0-A7C5-58006CC6A02F}" destId="{C2126125-F7AB-481D-894B-CEACF1EE60BB}" srcOrd="4" destOrd="0" presId="urn:microsoft.com/office/officeart/2005/8/layout/chevron2"/>
    <dgm:cxn modelId="{0DBE6625-5E5D-4FAE-A549-BA2689B18C20}" type="presParOf" srcId="{C2126125-F7AB-481D-894B-CEACF1EE60BB}" destId="{AF9BD097-348F-43A9-996D-3259C6CE9537}" srcOrd="0" destOrd="0" presId="urn:microsoft.com/office/officeart/2005/8/layout/chevron2"/>
    <dgm:cxn modelId="{6B82611F-860F-4C83-A3B5-65F9898D60C3}" type="presParOf" srcId="{C2126125-F7AB-481D-894B-CEACF1EE60BB}" destId="{7211B2E2-C84A-4B5A-B0BB-3F2C5108F67E}" srcOrd="1" destOrd="0" presId="urn:microsoft.com/office/officeart/2005/8/layout/chevron2"/>
    <dgm:cxn modelId="{F559464F-78F0-489B-B3B5-8CE4A982E4BE}" type="presParOf" srcId="{5A7F55C3-4E3F-47A0-A7C5-58006CC6A02F}" destId="{5BC52460-35CD-414A-8A5B-1CB1B1A00734}" srcOrd="5" destOrd="0" presId="urn:microsoft.com/office/officeart/2005/8/layout/chevron2"/>
    <dgm:cxn modelId="{5ADA2239-7749-460A-87D1-075B51CC05A7}" type="presParOf" srcId="{5A7F55C3-4E3F-47A0-A7C5-58006CC6A02F}" destId="{0B1B348C-C020-4672-8259-6F9B80023E6D}" srcOrd="6" destOrd="0" presId="urn:microsoft.com/office/officeart/2005/8/layout/chevron2"/>
    <dgm:cxn modelId="{FF0EE656-86B0-4122-9F81-2B848D00E08B}" type="presParOf" srcId="{0B1B348C-C020-4672-8259-6F9B80023E6D}" destId="{D772B9D5-F581-47C0-98CB-7B25A5FF2C4C}" srcOrd="0" destOrd="0" presId="urn:microsoft.com/office/officeart/2005/8/layout/chevron2"/>
    <dgm:cxn modelId="{E8197051-E696-412B-97B9-685258D960DE}" type="presParOf" srcId="{0B1B348C-C020-4672-8259-6F9B80023E6D}" destId="{2C6DA494-7721-47C3-BA66-BBB271D49E22}" srcOrd="1" destOrd="0" presId="urn:microsoft.com/office/officeart/2005/8/layout/chevron2"/>
    <dgm:cxn modelId="{DEF6D5F2-BAE0-4554-8BCD-23779B26C520}" type="presParOf" srcId="{5A7F55C3-4E3F-47A0-A7C5-58006CC6A02F}" destId="{62D7B306-356F-45EE-94D5-A418B64911D2}" srcOrd="7" destOrd="0" presId="urn:microsoft.com/office/officeart/2005/8/layout/chevron2"/>
    <dgm:cxn modelId="{0F09AF5A-8AF7-4212-B454-7BAFF404B681}" type="presParOf" srcId="{5A7F55C3-4E3F-47A0-A7C5-58006CC6A02F}" destId="{AD349DAD-58EA-41E5-899D-D492B6625A17}" srcOrd="8" destOrd="0" presId="urn:microsoft.com/office/officeart/2005/8/layout/chevron2"/>
    <dgm:cxn modelId="{6718036B-546A-4FE6-88B2-E640A47924C5}" type="presParOf" srcId="{AD349DAD-58EA-41E5-899D-D492B6625A17}" destId="{782DB8CD-087C-412E-8828-27309BB76A3A}" srcOrd="0" destOrd="0" presId="urn:microsoft.com/office/officeart/2005/8/layout/chevron2"/>
    <dgm:cxn modelId="{16E97A58-EDDE-46F2-B5FA-E0443613BC1D}" type="presParOf" srcId="{AD349DAD-58EA-41E5-899D-D492B6625A17}" destId="{26002718-7C43-4DFB-B954-36D23FED707C}" srcOrd="1" destOrd="0" presId="urn:microsoft.com/office/officeart/2005/8/layout/chevron2"/>
    <dgm:cxn modelId="{FDDDBF72-CBE9-4D34-8AFF-79CC08992214}" type="presParOf" srcId="{5A7F55C3-4E3F-47A0-A7C5-58006CC6A02F}" destId="{93CF973B-DC64-4FB0-B9D5-29388E7DE2AA}" srcOrd="9" destOrd="0" presId="urn:microsoft.com/office/officeart/2005/8/layout/chevron2"/>
    <dgm:cxn modelId="{D7D3D8A9-51B2-4A2D-8938-530F1CFD399E}" type="presParOf" srcId="{5A7F55C3-4E3F-47A0-A7C5-58006CC6A02F}" destId="{FA1356A9-7F12-49B1-97C2-78DDCDB42219}" srcOrd="10" destOrd="0" presId="urn:microsoft.com/office/officeart/2005/8/layout/chevron2"/>
    <dgm:cxn modelId="{3F4D6714-572C-481E-BAB2-135678C1DCAD}" type="presParOf" srcId="{FA1356A9-7F12-49B1-97C2-78DDCDB42219}" destId="{3F0E7EB6-FAFE-408E-9263-8F721C81A229}" srcOrd="0" destOrd="0" presId="urn:microsoft.com/office/officeart/2005/8/layout/chevron2"/>
    <dgm:cxn modelId="{785C2C02-5F81-482C-B70A-9CCE25129C96}" type="presParOf" srcId="{FA1356A9-7F12-49B1-97C2-78DDCDB42219}" destId="{C301D460-E8D9-472A-A627-AEF95C2E236C}" srcOrd="1" destOrd="0" presId="urn:microsoft.com/office/officeart/2005/8/layout/chevron2"/>
    <dgm:cxn modelId="{55EDFF42-97F0-4D04-AF0A-6E1FCA582A7D}" type="presParOf" srcId="{5A7F55C3-4E3F-47A0-A7C5-58006CC6A02F}" destId="{2BEAA782-0C3C-4418-871A-7FF0D9B59B6E}" srcOrd="11" destOrd="0" presId="urn:microsoft.com/office/officeart/2005/8/layout/chevron2"/>
    <dgm:cxn modelId="{762C596D-B711-4FEB-9EEE-0BF19A662F00}" type="presParOf" srcId="{5A7F55C3-4E3F-47A0-A7C5-58006CC6A02F}" destId="{F25F7518-A66D-40E4-BB4D-E35B2AD8DA5E}" srcOrd="12" destOrd="0" presId="urn:microsoft.com/office/officeart/2005/8/layout/chevron2"/>
    <dgm:cxn modelId="{DA397B29-F46E-48EE-8B0F-245B4A9AF4F4}" type="presParOf" srcId="{F25F7518-A66D-40E4-BB4D-E35B2AD8DA5E}" destId="{E468BF34-280D-4078-A60F-8E289D3A01CA}" srcOrd="0" destOrd="0" presId="urn:microsoft.com/office/officeart/2005/8/layout/chevron2"/>
    <dgm:cxn modelId="{48EC9325-6AA0-413E-9A27-29600669C3B6}" type="presParOf" srcId="{F25F7518-A66D-40E4-BB4D-E35B2AD8DA5E}" destId="{72364523-5496-48E6-88E8-921B5141A6B7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8CADE28-533F-45FC-96CB-6A1A79DC8651}" type="doc">
      <dgm:prSet loTypeId="urn:microsoft.com/office/officeart/2005/8/layout/hList9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77F04979-B669-40FC-9D20-9FBDFAFC621E}">
      <dgm:prSet phldrT="[Text]" custT="1"/>
      <dgm:spPr/>
      <dgm:t>
        <a:bodyPr/>
        <a:lstStyle/>
        <a:p>
          <a:r>
            <a:rPr sz="1200" dirty="0" err="1"/>
            <a:t>TË</a:t>
          </a:r>
          <a:r>
            <a:rPr sz="1200" dirty="0"/>
            <a:t> </a:t>
          </a:r>
          <a:r>
            <a:rPr sz="1200" dirty="0" err="1"/>
            <a:t>PËRGJITHSHME</a:t>
          </a:r>
          <a:endParaRPr lang="sq-AL" sz="1200" dirty="0"/>
        </a:p>
      </dgm:t>
    </dgm:pt>
    <dgm:pt modelId="{CE9FF913-CF07-4646-85F3-51BC25AA7637}" type="parTrans" cxnId="{4D4BE29E-BF23-4513-AE4F-C948B38FA17C}">
      <dgm:prSet/>
      <dgm:spPr/>
      <dgm:t>
        <a:bodyPr/>
        <a:lstStyle/>
        <a:p>
          <a:endParaRPr lang="en-GB"/>
        </a:p>
      </dgm:t>
    </dgm:pt>
    <dgm:pt modelId="{7C99DADF-ECCA-4E10-AE68-F959CD19BC57}" type="sibTrans" cxnId="{4D4BE29E-BF23-4513-AE4F-C948B38FA17C}">
      <dgm:prSet/>
      <dgm:spPr/>
      <dgm:t>
        <a:bodyPr/>
        <a:lstStyle/>
        <a:p>
          <a:endParaRPr lang="en-GB"/>
        </a:p>
      </dgm:t>
    </dgm:pt>
    <dgm:pt modelId="{56503AC5-791B-4022-A006-C87B85819447}">
      <dgm:prSet phldrT="[Text]"/>
      <dgm:spPr/>
      <dgm:t>
        <a:bodyPr/>
        <a:lstStyle/>
        <a:p>
          <a:r>
            <a:rPr lang="en-US" dirty="0" smtClean="0">
              <a:solidFill>
                <a:schemeClr val="tx2"/>
              </a:solidFill>
            </a:rPr>
            <a:t>Synon të zbatojë dhe të nxisë </a:t>
          </a:r>
          <a:r>
            <a:rPr lang="en-US" dirty="0" smtClean="0">
              <a:solidFill>
                <a:schemeClr val="accent6"/>
              </a:solidFill>
            </a:rPr>
            <a:t>parimet kryesore për lehtësimin e tregtisë </a:t>
          </a:r>
          <a:r>
            <a:rPr lang="en-US" dirty="0" smtClean="0">
              <a:solidFill>
                <a:schemeClr val="tx2"/>
              </a:solidFill>
            </a:rPr>
            <a:t>si për shembull </a:t>
          </a:r>
          <a:r>
            <a:rPr lang="en-US" dirty="0" smtClean="0">
              <a:solidFill>
                <a:schemeClr val="accent6"/>
              </a:solidFill>
            </a:rPr>
            <a:t>parashikueshmërinë</a:t>
          </a:r>
          <a:r>
            <a:rPr lang="en-US" dirty="0" smtClean="0">
              <a:solidFill>
                <a:schemeClr val="tx2"/>
              </a:solidFill>
            </a:rPr>
            <a:t>, </a:t>
          </a:r>
          <a:r>
            <a:rPr lang="en-US" dirty="0" smtClean="0">
              <a:solidFill>
                <a:schemeClr val="accent6"/>
              </a:solidFill>
            </a:rPr>
            <a:t>konsistencën</a:t>
          </a:r>
          <a:r>
            <a:rPr lang="en-US" dirty="0" smtClean="0">
              <a:solidFill>
                <a:schemeClr val="tx2"/>
              </a:solidFill>
            </a:rPr>
            <a:t> dhe</a:t>
          </a:r>
          <a:r>
            <a:rPr lang="en-US" dirty="0" smtClean="0">
              <a:solidFill>
                <a:schemeClr val="accent6"/>
              </a:solidFill>
            </a:rPr>
            <a:t>transparencën</a:t>
          </a:r>
          <a:endParaRPr lang="sq-AL" dirty="0">
            <a:solidFill>
              <a:schemeClr val="accent6"/>
            </a:solidFill>
          </a:endParaRPr>
        </a:p>
      </dgm:t>
    </dgm:pt>
    <dgm:pt modelId="{D8F3DFDF-7C14-4448-9E99-58AF17D3BE16}" type="parTrans" cxnId="{4D336743-961B-4ACC-83E2-D97CD136335A}">
      <dgm:prSet/>
      <dgm:spPr/>
      <dgm:t>
        <a:bodyPr/>
        <a:lstStyle/>
        <a:p>
          <a:endParaRPr lang="en-GB"/>
        </a:p>
      </dgm:t>
    </dgm:pt>
    <dgm:pt modelId="{B6337972-2702-4DC6-9B8F-7D1F98F45FB4}" type="sibTrans" cxnId="{4D336743-961B-4ACC-83E2-D97CD136335A}">
      <dgm:prSet/>
      <dgm:spPr/>
      <dgm:t>
        <a:bodyPr/>
        <a:lstStyle/>
        <a:p>
          <a:endParaRPr lang="en-GB"/>
        </a:p>
      </dgm:t>
    </dgm:pt>
    <dgm:pt modelId="{E3C68D60-9351-4EB7-8B5A-49C437FC4060}">
      <dgm:prSet/>
      <dgm:spPr/>
      <dgm:t>
        <a:bodyPr/>
        <a:lstStyle/>
        <a:p>
          <a:r>
            <a:rPr lang="en-US" dirty="0" smtClean="0">
              <a:solidFill>
                <a:schemeClr val="tx2"/>
              </a:solidFill>
            </a:rPr>
            <a:t>Kërkon të përmirësojë </a:t>
          </a:r>
          <a:r>
            <a:rPr lang="en-US" dirty="0" smtClean="0">
              <a:solidFill>
                <a:schemeClr val="accent6"/>
              </a:solidFill>
            </a:rPr>
            <a:t>efikasitetin </a:t>
          </a:r>
          <a:r>
            <a:rPr lang="en-US" dirty="0" smtClean="0">
              <a:solidFill>
                <a:schemeClr val="tx2"/>
              </a:solidFill>
            </a:rPr>
            <a:t>dhe</a:t>
          </a:r>
          <a:r>
            <a:rPr lang="en-US" dirty="0" smtClean="0">
              <a:solidFill>
                <a:schemeClr val="accent6"/>
              </a:solidFill>
            </a:rPr>
            <a:t> efiçencën </a:t>
          </a:r>
          <a:r>
            <a:rPr lang="en-US" dirty="0" smtClean="0">
              <a:solidFill>
                <a:schemeClr val="tx2"/>
              </a:solidFill>
            </a:rPr>
            <a:t>e </a:t>
          </a:r>
          <a:r>
            <a:rPr lang="en-US" dirty="0" smtClean="0">
              <a:solidFill>
                <a:schemeClr val="accent6"/>
              </a:solidFill>
            </a:rPr>
            <a:t>doganave</a:t>
          </a:r>
          <a:r>
            <a:t> </a:t>
          </a:r>
          <a:endParaRPr lang="sq-AL" dirty="0" smtClean="0">
            <a:solidFill>
              <a:schemeClr val="tx2"/>
            </a:solidFill>
          </a:endParaRPr>
        </a:p>
      </dgm:t>
    </dgm:pt>
    <dgm:pt modelId="{9E1DC1C6-D374-40E7-B1F6-415839858495}" type="parTrans" cxnId="{A651F2F4-416C-4517-B38A-F536F4C46536}">
      <dgm:prSet/>
      <dgm:spPr/>
      <dgm:t>
        <a:bodyPr/>
        <a:lstStyle/>
        <a:p>
          <a:endParaRPr lang="en-GB"/>
        </a:p>
      </dgm:t>
    </dgm:pt>
    <dgm:pt modelId="{91AD3029-970E-4918-98B9-6B2AC04B6F28}" type="sibTrans" cxnId="{A651F2F4-416C-4517-B38A-F536F4C46536}">
      <dgm:prSet/>
      <dgm:spPr/>
      <dgm:t>
        <a:bodyPr/>
        <a:lstStyle/>
        <a:p>
          <a:endParaRPr lang="en-GB"/>
        </a:p>
      </dgm:t>
    </dgm:pt>
    <dgm:pt modelId="{4A010029-780D-4F6B-967A-E48DAE016F4D}" type="pres">
      <dgm:prSet presAssocID="{88CADE28-533F-45FC-96CB-6A1A79DC8651}" presName="list" presStyleCnt="0">
        <dgm:presLayoutVars>
          <dgm:dir/>
          <dgm:animLvl val="lvl"/>
        </dgm:presLayoutVars>
      </dgm:prSet>
      <dgm:spPr/>
      <dgm:t>
        <a:bodyPr/>
        <a:lstStyle/>
        <a:p>
          <a:endParaRPr lang="en-GB"/>
        </a:p>
      </dgm:t>
    </dgm:pt>
    <dgm:pt modelId="{1D4C814D-C02A-4F98-8837-E69E4019A150}" type="pres">
      <dgm:prSet presAssocID="{77F04979-B669-40FC-9D20-9FBDFAFC621E}" presName="posSpace" presStyleCnt="0"/>
      <dgm:spPr/>
    </dgm:pt>
    <dgm:pt modelId="{9F036F4E-7EAA-43AA-8C07-8EB5ADA259F5}" type="pres">
      <dgm:prSet presAssocID="{77F04979-B669-40FC-9D20-9FBDFAFC621E}" presName="vertFlow" presStyleCnt="0"/>
      <dgm:spPr/>
    </dgm:pt>
    <dgm:pt modelId="{44F9FEC3-1D0B-4A9C-A23D-9F3799F70C79}" type="pres">
      <dgm:prSet presAssocID="{77F04979-B669-40FC-9D20-9FBDFAFC621E}" presName="topSpace" presStyleCnt="0"/>
      <dgm:spPr/>
    </dgm:pt>
    <dgm:pt modelId="{23617795-254C-475D-B251-AF52DD80D381}" type="pres">
      <dgm:prSet presAssocID="{77F04979-B669-40FC-9D20-9FBDFAFC621E}" presName="firstComp" presStyleCnt="0"/>
      <dgm:spPr/>
    </dgm:pt>
    <dgm:pt modelId="{D84727CB-CA2D-407D-B23F-8F1FDBF0951B}" type="pres">
      <dgm:prSet presAssocID="{77F04979-B669-40FC-9D20-9FBDFAFC621E}" presName="firstChild" presStyleLbl="bgAccFollowNode1" presStyleIdx="0" presStyleCnt="2"/>
      <dgm:spPr/>
      <dgm:t>
        <a:bodyPr/>
        <a:lstStyle/>
        <a:p>
          <a:endParaRPr lang="en-GB"/>
        </a:p>
      </dgm:t>
    </dgm:pt>
    <dgm:pt modelId="{3419C222-66CE-4C73-B7C6-44941942954F}" type="pres">
      <dgm:prSet presAssocID="{77F04979-B669-40FC-9D20-9FBDFAFC621E}" presName="firstChildTx" presStyleLbl="bg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46B94B0-27BA-46D1-B273-880F504747FD}" type="pres">
      <dgm:prSet presAssocID="{E3C68D60-9351-4EB7-8B5A-49C437FC4060}" presName="comp" presStyleCnt="0"/>
      <dgm:spPr/>
    </dgm:pt>
    <dgm:pt modelId="{DA1BAA02-C083-46C8-970A-A3A5E1769D0C}" type="pres">
      <dgm:prSet presAssocID="{E3C68D60-9351-4EB7-8B5A-49C437FC4060}" presName="child" presStyleLbl="bgAccFollowNode1" presStyleIdx="1" presStyleCnt="2"/>
      <dgm:spPr/>
      <dgm:t>
        <a:bodyPr/>
        <a:lstStyle/>
        <a:p>
          <a:endParaRPr lang="en-GB"/>
        </a:p>
      </dgm:t>
    </dgm:pt>
    <dgm:pt modelId="{6CBB6F33-3210-4BF4-926A-4B3FA67D2F28}" type="pres">
      <dgm:prSet presAssocID="{E3C68D60-9351-4EB7-8B5A-49C437FC4060}" presName="childTx" presStyleLbl="bg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CB50F820-30DE-4FD0-85E4-ADECD10B314F}" type="pres">
      <dgm:prSet presAssocID="{77F04979-B669-40FC-9D20-9FBDFAFC621E}" presName="negSpace" presStyleCnt="0"/>
      <dgm:spPr/>
    </dgm:pt>
    <dgm:pt modelId="{FDDED5BE-B6EB-4CE3-B1AA-1F3F564074C6}" type="pres">
      <dgm:prSet presAssocID="{77F04979-B669-40FC-9D20-9FBDFAFC621E}" presName="circle" presStyleLbl="node1" presStyleIdx="0" presStyleCnt="1"/>
      <dgm:spPr/>
      <dgm:t>
        <a:bodyPr/>
        <a:lstStyle/>
        <a:p>
          <a:endParaRPr lang="en-GB"/>
        </a:p>
      </dgm:t>
    </dgm:pt>
  </dgm:ptLst>
  <dgm:cxnLst>
    <dgm:cxn modelId="{09B0CACA-55B2-4911-9046-671615972117}" type="presOf" srcId="{56503AC5-791B-4022-A006-C87B85819447}" destId="{3419C222-66CE-4C73-B7C6-44941942954F}" srcOrd="1" destOrd="0" presId="urn:microsoft.com/office/officeart/2005/8/layout/hList9"/>
    <dgm:cxn modelId="{A651F2F4-416C-4517-B38A-F536F4C46536}" srcId="{77F04979-B669-40FC-9D20-9FBDFAFC621E}" destId="{E3C68D60-9351-4EB7-8B5A-49C437FC4060}" srcOrd="1" destOrd="0" parTransId="{9E1DC1C6-D374-40E7-B1F6-415839858495}" sibTransId="{91AD3029-970E-4918-98B9-6B2AC04B6F28}"/>
    <dgm:cxn modelId="{4D336743-961B-4ACC-83E2-D97CD136335A}" srcId="{77F04979-B669-40FC-9D20-9FBDFAFC621E}" destId="{56503AC5-791B-4022-A006-C87B85819447}" srcOrd="0" destOrd="0" parTransId="{D8F3DFDF-7C14-4448-9E99-58AF17D3BE16}" sibTransId="{B6337972-2702-4DC6-9B8F-7D1F98F45FB4}"/>
    <dgm:cxn modelId="{C4FDFBF9-76CE-4E37-8698-39A807D10856}" type="presOf" srcId="{56503AC5-791B-4022-A006-C87B85819447}" destId="{D84727CB-CA2D-407D-B23F-8F1FDBF0951B}" srcOrd="0" destOrd="0" presId="urn:microsoft.com/office/officeart/2005/8/layout/hList9"/>
    <dgm:cxn modelId="{8F0BC7E7-FD91-46BA-A292-07559DEB843D}" type="presOf" srcId="{E3C68D60-9351-4EB7-8B5A-49C437FC4060}" destId="{DA1BAA02-C083-46C8-970A-A3A5E1769D0C}" srcOrd="0" destOrd="0" presId="urn:microsoft.com/office/officeart/2005/8/layout/hList9"/>
    <dgm:cxn modelId="{3936AF0D-DEF7-4E0B-9C86-1145CA330ECC}" type="presOf" srcId="{88CADE28-533F-45FC-96CB-6A1A79DC8651}" destId="{4A010029-780D-4F6B-967A-E48DAE016F4D}" srcOrd="0" destOrd="0" presId="urn:microsoft.com/office/officeart/2005/8/layout/hList9"/>
    <dgm:cxn modelId="{4D4BE29E-BF23-4513-AE4F-C948B38FA17C}" srcId="{88CADE28-533F-45FC-96CB-6A1A79DC8651}" destId="{77F04979-B669-40FC-9D20-9FBDFAFC621E}" srcOrd="0" destOrd="0" parTransId="{CE9FF913-CF07-4646-85F3-51BC25AA7637}" sibTransId="{7C99DADF-ECCA-4E10-AE68-F959CD19BC57}"/>
    <dgm:cxn modelId="{DB6D5842-3109-4454-9F56-BDB14107F469}" type="presOf" srcId="{E3C68D60-9351-4EB7-8B5A-49C437FC4060}" destId="{6CBB6F33-3210-4BF4-926A-4B3FA67D2F28}" srcOrd="1" destOrd="0" presId="urn:microsoft.com/office/officeart/2005/8/layout/hList9"/>
    <dgm:cxn modelId="{E53C5829-2980-4C28-B634-75666E4D8399}" type="presOf" srcId="{77F04979-B669-40FC-9D20-9FBDFAFC621E}" destId="{FDDED5BE-B6EB-4CE3-B1AA-1F3F564074C6}" srcOrd="0" destOrd="0" presId="urn:microsoft.com/office/officeart/2005/8/layout/hList9"/>
    <dgm:cxn modelId="{D888760F-5468-43B4-A944-43C7D4A63C20}" type="presParOf" srcId="{4A010029-780D-4F6B-967A-E48DAE016F4D}" destId="{1D4C814D-C02A-4F98-8837-E69E4019A150}" srcOrd="0" destOrd="0" presId="urn:microsoft.com/office/officeart/2005/8/layout/hList9"/>
    <dgm:cxn modelId="{352FAC03-1EAF-46E1-913F-90F01776E1E8}" type="presParOf" srcId="{4A010029-780D-4F6B-967A-E48DAE016F4D}" destId="{9F036F4E-7EAA-43AA-8C07-8EB5ADA259F5}" srcOrd="1" destOrd="0" presId="urn:microsoft.com/office/officeart/2005/8/layout/hList9"/>
    <dgm:cxn modelId="{302661C1-4A02-4600-8368-EAE4094EC8DC}" type="presParOf" srcId="{9F036F4E-7EAA-43AA-8C07-8EB5ADA259F5}" destId="{44F9FEC3-1D0B-4A9C-A23D-9F3799F70C79}" srcOrd="0" destOrd="0" presId="urn:microsoft.com/office/officeart/2005/8/layout/hList9"/>
    <dgm:cxn modelId="{7B32A0A1-E72D-4325-BDBB-0672FB1C995B}" type="presParOf" srcId="{9F036F4E-7EAA-43AA-8C07-8EB5ADA259F5}" destId="{23617795-254C-475D-B251-AF52DD80D381}" srcOrd="1" destOrd="0" presId="urn:microsoft.com/office/officeart/2005/8/layout/hList9"/>
    <dgm:cxn modelId="{F8F84594-791F-4F5C-BB06-AD50969FE1F9}" type="presParOf" srcId="{23617795-254C-475D-B251-AF52DD80D381}" destId="{D84727CB-CA2D-407D-B23F-8F1FDBF0951B}" srcOrd="0" destOrd="0" presId="urn:microsoft.com/office/officeart/2005/8/layout/hList9"/>
    <dgm:cxn modelId="{EE6CAD26-27A1-4373-B7DF-C71AC7FB35F6}" type="presParOf" srcId="{23617795-254C-475D-B251-AF52DD80D381}" destId="{3419C222-66CE-4C73-B7C6-44941942954F}" srcOrd="1" destOrd="0" presId="urn:microsoft.com/office/officeart/2005/8/layout/hList9"/>
    <dgm:cxn modelId="{5E551008-C3E3-4454-B2E5-49F215FC0C5F}" type="presParOf" srcId="{9F036F4E-7EAA-43AA-8C07-8EB5ADA259F5}" destId="{A46B94B0-27BA-46D1-B273-880F504747FD}" srcOrd="2" destOrd="0" presId="urn:microsoft.com/office/officeart/2005/8/layout/hList9"/>
    <dgm:cxn modelId="{A2C58543-FE6C-48C7-8725-1AC5CF7719D2}" type="presParOf" srcId="{A46B94B0-27BA-46D1-B273-880F504747FD}" destId="{DA1BAA02-C083-46C8-970A-A3A5E1769D0C}" srcOrd="0" destOrd="0" presId="urn:microsoft.com/office/officeart/2005/8/layout/hList9"/>
    <dgm:cxn modelId="{700DC805-910A-44D0-8864-4CCDC35C7743}" type="presParOf" srcId="{A46B94B0-27BA-46D1-B273-880F504747FD}" destId="{6CBB6F33-3210-4BF4-926A-4B3FA67D2F28}" srcOrd="1" destOrd="0" presId="urn:microsoft.com/office/officeart/2005/8/layout/hList9"/>
    <dgm:cxn modelId="{61EA1209-B68B-4E27-8D1B-E900869936EA}" type="presParOf" srcId="{4A010029-780D-4F6B-967A-E48DAE016F4D}" destId="{CB50F820-30DE-4FD0-85E4-ADECD10B314F}" srcOrd="2" destOrd="0" presId="urn:microsoft.com/office/officeart/2005/8/layout/hList9"/>
    <dgm:cxn modelId="{9A632D03-46B7-41A7-AB3A-E3FBD8AA0B59}" type="presParOf" srcId="{4A010029-780D-4F6B-967A-E48DAE016F4D}" destId="{FDDED5BE-B6EB-4CE3-B1AA-1F3F564074C6}" srcOrd="3" destOrd="0" presId="urn:microsoft.com/office/officeart/2005/8/layout/hList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CA02127-6296-4A64-BCAC-196E69F72C70}" type="doc">
      <dgm:prSet loTypeId="urn:microsoft.com/office/officeart/2005/8/layout/hList9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AB1A07A9-4E3A-408C-9C1C-E5D570C30178}">
      <dgm:prSet phldrT="[Text]"/>
      <dgm:spPr/>
      <dgm:t>
        <a:bodyPr/>
        <a:lstStyle/>
        <a:p>
          <a:r>
            <a:t>MASAT QË LIDHEN ME PROCESIN</a:t>
          </a:r>
          <a:endParaRPr lang="sq-AL" dirty="0"/>
        </a:p>
      </dgm:t>
    </dgm:pt>
    <dgm:pt modelId="{BBF703FC-247D-4091-9430-72E4BCCD7C71}" type="parTrans" cxnId="{C8B54026-9D83-4F12-B42F-2459F9C622A3}">
      <dgm:prSet/>
      <dgm:spPr/>
      <dgm:t>
        <a:bodyPr/>
        <a:lstStyle/>
        <a:p>
          <a:endParaRPr lang="en-GB"/>
        </a:p>
      </dgm:t>
    </dgm:pt>
    <dgm:pt modelId="{2DFA0044-D9F7-41E5-AC95-8E270236124A}" type="sibTrans" cxnId="{C8B54026-9D83-4F12-B42F-2459F9C622A3}">
      <dgm:prSet/>
      <dgm:spPr/>
      <dgm:t>
        <a:bodyPr/>
        <a:lstStyle/>
        <a:p>
          <a:endParaRPr lang="en-GB"/>
        </a:p>
      </dgm:t>
    </dgm:pt>
    <dgm:pt modelId="{F448A5ED-43AA-4C5C-918E-2A37B13D6AB8}">
      <dgm:prSet phldrT="[Text]"/>
      <dgm:spPr/>
      <dgm:t>
        <a:bodyPr/>
        <a:lstStyle/>
        <a:p>
          <a:r>
            <a:rPr lang="en-US" dirty="0" smtClean="0">
              <a:solidFill>
                <a:schemeClr val="tx2"/>
              </a:solidFill>
            </a:rPr>
            <a:t>Masa specifike që lidhen me procesin me rezultate të </a:t>
          </a:r>
          <a:r>
            <a:rPr lang="en-US" dirty="0" err="1" smtClean="0">
              <a:solidFill>
                <a:schemeClr val="tx2"/>
              </a:solidFill>
            </a:rPr>
            <a:t>prekshme</a:t>
          </a:r>
          <a:r>
            <a:rPr lang="en-US" dirty="0" smtClean="0">
              <a:solidFill>
                <a:schemeClr val="tx2"/>
              </a:solidFill>
            </a:rPr>
            <a:t> </a:t>
          </a:r>
          <a:r>
            <a:rPr lang="en-US" dirty="0" err="1" smtClean="0">
              <a:solidFill>
                <a:schemeClr val="tx2"/>
              </a:solidFill>
            </a:rPr>
            <a:t>mbi</a:t>
          </a:r>
          <a:r>
            <a:rPr lang="sq-AL" dirty="0" smtClean="0">
              <a:solidFill>
                <a:schemeClr val="tx2"/>
              </a:solidFill>
            </a:rPr>
            <a:t> </a:t>
          </a:r>
          <a:r>
            <a:rPr lang="en-US" dirty="0" err="1" smtClean="0">
              <a:solidFill>
                <a:schemeClr val="accent6"/>
              </a:solidFill>
            </a:rPr>
            <a:t>efiçencën</a:t>
          </a:r>
          <a:r>
            <a:rPr lang="en-US" dirty="0" smtClean="0">
              <a:solidFill>
                <a:schemeClr val="tx2"/>
              </a:solidFill>
            </a:rPr>
            <a:t> e </a:t>
          </a:r>
          <a:r>
            <a:rPr lang="en-US" dirty="0" smtClean="0">
              <a:solidFill>
                <a:schemeClr val="accent6"/>
              </a:solidFill>
            </a:rPr>
            <a:t>procesin e zhdoganimit në përgjithësi</a:t>
          </a:r>
          <a:endParaRPr lang="sq-AL" dirty="0">
            <a:solidFill>
              <a:schemeClr val="accent6"/>
            </a:solidFill>
          </a:endParaRPr>
        </a:p>
      </dgm:t>
    </dgm:pt>
    <dgm:pt modelId="{5C5E45B0-E002-48B6-B471-98C54E5F3B44}" type="parTrans" cxnId="{83627AAF-B5A4-4C67-86AC-7D9D917C37A7}">
      <dgm:prSet/>
      <dgm:spPr/>
      <dgm:t>
        <a:bodyPr/>
        <a:lstStyle/>
        <a:p>
          <a:endParaRPr lang="en-GB"/>
        </a:p>
      </dgm:t>
    </dgm:pt>
    <dgm:pt modelId="{B2F50E3F-7E81-4D9A-96D7-10569371E833}" type="sibTrans" cxnId="{83627AAF-B5A4-4C67-86AC-7D9D917C37A7}">
      <dgm:prSet/>
      <dgm:spPr/>
      <dgm:t>
        <a:bodyPr/>
        <a:lstStyle/>
        <a:p>
          <a:endParaRPr lang="en-GB"/>
        </a:p>
      </dgm:t>
    </dgm:pt>
    <dgm:pt modelId="{063C954E-5A04-414C-ABD9-775B74227473}">
      <dgm:prSet phldrT="[Text]"/>
      <dgm:spPr/>
      <dgm:t>
        <a:bodyPr/>
        <a:lstStyle/>
        <a:p>
          <a:r>
            <a:rPr lang="en-US" dirty="0" smtClean="0">
              <a:solidFill>
                <a:schemeClr val="tx2"/>
              </a:solidFill>
            </a:rPr>
            <a:t>Mund të arrihen në nivel </a:t>
          </a:r>
          <a:r>
            <a:rPr lang="en-US" dirty="0" smtClean="0">
              <a:solidFill>
                <a:schemeClr val="accent6"/>
              </a:solidFill>
            </a:rPr>
            <a:t>vendor</a:t>
          </a:r>
          <a:r>
            <a:rPr lang="en-US" dirty="0" smtClean="0">
              <a:solidFill>
                <a:schemeClr val="tx2"/>
              </a:solidFill>
            </a:rPr>
            <a:t> dhe relativisht </a:t>
          </a:r>
          <a:r>
            <a:rPr lang="en-US" dirty="0" smtClean="0">
              <a:solidFill>
                <a:schemeClr val="accent6"/>
              </a:solidFill>
            </a:rPr>
            <a:t>pa shpenzime</a:t>
          </a:r>
          <a:r>
            <a:rPr lang="en-US" dirty="0" smtClean="0">
              <a:solidFill>
                <a:schemeClr val="tx2"/>
              </a:solidFill>
            </a:rPr>
            <a:t> për t'u zbatuar</a:t>
          </a:r>
          <a:endParaRPr lang="sq-AL" dirty="0">
            <a:solidFill>
              <a:schemeClr val="tx2"/>
            </a:solidFill>
          </a:endParaRPr>
        </a:p>
      </dgm:t>
    </dgm:pt>
    <dgm:pt modelId="{68B4A5AB-46EF-4964-93DB-7365C23AF901}" type="parTrans" cxnId="{144475D5-6751-48DB-927F-2AB3AAC99A95}">
      <dgm:prSet/>
      <dgm:spPr/>
      <dgm:t>
        <a:bodyPr/>
        <a:lstStyle/>
        <a:p>
          <a:endParaRPr lang="en-GB"/>
        </a:p>
      </dgm:t>
    </dgm:pt>
    <dgm:pt modelId="{E31B4D63-CA11-4699-9272-2D2E991D4147}" type="sibTrans" cxnId="{144475D5-6751-48DB-927F-2AB3AAC99A95}">
      <dgm:prSet/>
      <dgm:spPr/>
      <dgm:t>
        <a:bodyPr/>
        <a:lstStyle/>
        <a:p>
          <a:endParaRPr lang="en-GB"/>
        </a:p>
      </dgm:t>
    </dgm:pt>
    <dgm:pt modelId="{5C455B83-5BDC-44F6-903B-17F044FF38DB}" type="pres">
      <dgm:prSet presAssocID="{3CA02127-6296-4A64-BCAC-196E69F72C70}" presName="list" presStyleCnt="0">
        <dgm:presLayoutVars>
          <dgm:dir/>
          <dgm:animLvl val="lvl"/>
        </dgm:presLayoutVars>
      </dgm:prSet>
      <dgm:spPr/>
      <dgm:t>
        <a:bodyPr/>
        <a:lstStyle/>
        <a:p>
          <a:endParaRPr lang="en-GB"/>
        </a:p>
      </dgm:t>
    </dgm:pt>
    <dgm:pt modelId="{1A829F3E-BE23-4F32-BB59-06313A5E611C}" type="pres">
      <dgm:prSet presAssocID="{AB1A07A9-4E3A-408C-9C1C-E5D570C30178}" presName="posSpace" presStyleCnt="0"/>
      <dgm:spPr/>
    </dgm:pt>
    <dgm:pt modelId="{A7C222B9-B8F5-4E72-B158-418CA4E2C1FE}" type="pres">
      <dgm:prSet presAssocID="{AB1A07A9-4E3A-408C-9C1C-E5D570C30178}" presName="vertFlow" presStyleCnt="0"/>
      <dgm:spPr/>
    </dgm:pt>
    <dgm:pt modelId="{C885D238-AB34-4A49-ADA4-5F92AAE0ACD3}" type="pres">
      <dgm:prSet presAssocID="{AB1A07A9-4E3A-408C-9C1C-E5D570C30178}" presName="topSpace" presStyleCnt="0"/>
      <dgm:spPr/>
    </dgm:pt>
    <dgm:pt modelId="{D64A05BA-B8A2-42C3-80C6-57EB79B06804}" type="pres">
      <dgm:prSet presAssocID="{AB1A07A9-4E3A-408C-9C1C-E5D570C30178}" presName="firstComp" presStyleCnt="0"/>
      <dgm:spPr/>
    </dgm:pt>
    <dgm:pt modelId="{78A74AE5-53CD-4341-B8A9-406942A4176B}" type="pres">
      <dgm:prSet presAssocID="{AB1A07A9-4E3A-408C-9C1C-E5D570C30178}" presName="firstChild" presStyleLbl="bgAccFollowNode1" presStyleIdx="0" presStyleCnt="2"/>
      <dgm:spPr/>
      <dgm:t>
        <a:bodyPr/>
        <a:lstStyle/>
        <a:p>
          <a:endParaRPr lang="en-GB"/>
        </a:p>
      </dgm:t>
    </dgm:pt>
    <dgm:pt modelId="{2117CF0C-9D1E-4A26-BA90-540D8269949A}" type="pres">
      <dgm:prSet presAssocID="{AB1A07A9-4E3A-408C-9C1C-E5D570C30178}" presName="firstChildTx" presStyleLbl="bg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7BC7D3DD-5678-4B98-8892-1ECA48F47F41}" type="pres">
      <dgm:prSet presAssocID="{063C954E-5A04-414C-ABD9-775B74227473}" presName="comp" presStyleCnt="0"/>
      <dgm:spPr/>
    </dgm:pt>
    <dgm:pt modelId="{07FCD0D3-4563-4859-A987-9B15F4FF9615}" type="pres">
      <dgm:prSet presAssocID="{063C954E-5A04-414C-ABD9-775B74227473}" presName="child" presStyleLbl="bgAccFollowNode1" presStyleIdx="1" presStyleCnt="2"/>
      <dgm:spPr/>
      <dgm:t>
        <a:bodyPr/>
        <a:lstStyle/>
        <a:p>
          <a:endParaRPr lang="en-GB"/>
        </a:p>
      </dgm:t>
    </dgm:pt>
    <dgm:pt modelId="{94A6A203-BB26-4333-B0F6-6FDFDA2D70A4}" type="pres">
      <dgm:prSet presAssocID="{063C954E-5A04-414C-ABD9-775B74227473}" presName="childTx" presStyleLbl="bg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F76DB00-84CD-48DC-A48D-104C3CAE7304}" type="pres">
      <dgm:prSet presAssocID="{AB1A07A9-4E3A-408C-9C1C-E5D570C30178}" presName="negSpace" presStyleCnt="0"/>
      <dgm:spPr/>
    </dgm:pt>
    <dgm:pt modelId="{9B321E08-5679-4866-AC75-666577B80368}" type="pres">
      <dgm:prSet presAssocID="{AB1A07A9-4E3A-408C-9C1C-E5D570C30178}" presName="circle" presStyleLbl="node1" presStyleIdx="0" presStyleCnt="1"/>
      <dgm:spPr/>
      <dgm:t>
        <a:bodyPr/>
        <a:lstStyle/>
        <a:p>
          <a:endParaRPr lang="en-GB"/>
        </a:p>
      </dgm:t>
    </dgm:pt>
  </dgm:ptLst>
  <dgm:cxnLst>
    <dgm:cxn modelId="{DFF8F2EC-9D88-4A82-9A05-F476CC82AA06}" type="presOf" srcId="{AB1A07A9-4E3A-408C-9C1C-E5D570C30178}" destId="{9B321E08-5679-4866-AC75-666577B80368}" srcOrd="0" destOrd="0" presId="urn:microsoft.com/office/officeart/2005/8/layout/hList9"/>
    <dgm:cxn modelId="{64131406-E785-482A-831B-24DD88DC8AEA}" type="presOf" srcId="{063C954E-5A04-414C-ABD9-775B74227473}" destId="{94A6A203-BB26-4333-B0F6-6FDFDA2D70A4}" srcOrd="1" destOrd="0" presId="urn:microsoft.com/office/officeart/2005/8/layout/hList9"/>
    <dgm:cxn modelId="{A79AB2E4-4B60-45FA-9718-37AF0E555CA5}" type="presOf" srcId="{3CA02127-6296-4A64-BCAC-196E69F72C70}" destId="{5C455B83-5BDC-44F6-903B-17F044FF38DB}" srcOrd="0" destOrd="0" presId="urn:microsoft.com/office/officeart/2005/8/layout/hList9"/>
    <dgm:cxn modelId="{83627AAF-B5A4-4C67-86AC-7D9D917C37A7}" srcId="{AB1A07A9-4E3A-408C-9C1C-E5D570C30178}" destId="{F448A5ED-43AA-4C5C-918E-2A37B13D6AB8}" srcOrd="0" destOrd="0" parTransId="{5C5E45B0-E002-48B6-B471-98C54E5F3B44}" sibTransId="{B2F50E3F-7E81-4D9A-96D7-10569371E833}"/>
    <dgm:cxn modelId="{C8B54026-9D83-4F12-B42F-2459F9C622A3}" srcId="{3CA02127-6296-4A64-BCAC-196E69F72C70}" destId="{AB1A07A9-4E3A-408C-9C1C-E5D570C30178}" srcOrd="0" destOrd="0" parTransId="{BBF703FC-247D-4091-9430-72E4BCCD7C71}" sibTransId="{2DFA0044-D9F7-41E5-AC95-8E270236124A}"/>
    <dgm:cxn modelId="{376A9E99-9870-46EE-8678-83D1D89C0EF9}" type="presOf" srcId="{F448A5ED-43AA-4C5C-918E-2A37B13D6AB8}" destId="{78A74AE5-53CD-4341-B8A9-406942A4176B}" srcOrd="0" destOrd="0" presId="urn:microsoft.com/office/officeart/2005/8/layout/hList9"/>
    <dgm:cxn modelId="{413CB84C-7C50-4C6F-9D9F-CB4B6D025690}" type="presOf" srcId="{F448A5ED-43AA-4C5C-918E-2A37B13D6AB8}" destId="{2117CF0C-9D1E-4A26-BA90-540D8269949A}" srcOrd="1" destOrd="0" presId="urn:microsoft.com/office/officeart/2005/8/layout/hList9"/>
    <dgm:cxn modelId="{CC737B9C-8D39-4AE8-9C93-F96BEEF0EED3}" type="presOf" srcId="{063C954E-5A04-414C-ABD9-775B74227473}" destId="{07FCD0D3-4563-4859-A987-9B15F4FF9615}" srcOrd="0" destOrd="0" presId="urn:microsoft.com/office/officeart/2005/8/layout/hList9"/>
    <dgm:cxn modelId="{144475D5-6751-48DB-927F-2AB3AAC99A95}" srcId="{AB1A07A9-4E3A-408C-9C1C-E5D570C30178}" destId="{063C954E-5A04-414C-ABD9-775B74227473}" srcOrd="1" destOrd="0" parTransId="{68B4A5AB-46EF-4964-93DB-7365C23AF901}" sibTransId="{E31B4D63-CA11-4699-9272-2D2E991D4147}"/>
    <dgm:cxn modelId="{F82FCF62-9984-4C2B-8249-6730155BF795}" type="presParOf" srcId="{5C455B83-5BDC-44F6-903B-17F044FF38DB}" destId="{1A829F3E-BE23-4F32-BB59-06313A5E611C}" srcOrd="0" destOrd="0" presId="urn:microsoft.com/office/officeart/2005/8/layout/hList9"/>
    <dgm:cxn modelId="{70D2F166-0B14-40FC-8C02-26CDCCEFB558}" type="presParOf" srcId="{5C455B83-5BDC-44F6-903B-17F044FF38DB}" destId="{A7C222B9-B8F5-4E72-B158-418CA4E2C1FE}" srcOrd="1" destOrd="0" presId="urn:microsoft.com/office/officeart/2005/8/layout/hList9"/>
    <dgm:cxn modelId="{A2225F7F-42A1-4DBE-963D-5CD785E03CCA}" type="presParOf" srcId="{A7C222B9-B8F5-4E72-B158-418CA4E2C1FE}" destId="{C885D238-AB34-4A49-ADA4-5F92AAE0ACD3}" srcOrd="0" destOrd="0" presId="urn:microsoft.com/office/officeart/2005/8/layout/hList9"/>
    <dgm:cxn modelId="{3C2FB286-8461-4290-AEFD-9C1952A923E1}" type="presParOf" srcId="{A7C222B9-B8F5-4E72-B158-418CA4E2C1FE}" destId="{D64A05BA-B8A2-42C3-80C6-57EB79B06804}" srcOrd="1" destOrd="0" presId="urn:microsoft.com/office/officeart/2005/8/layout/hList9"/>
    <dgm:cxn modelId="{21F14BF7-D6DC-438F-BB0F-960AF8B6C73E}" type="presParOf" srcId="{D64A05BA-B8A2-42C3-80C6-57EB79B06804}" destId="{78A74AE5-53CD-4341-B8A9-406942A4176B}" srcOrd="0" destOrd="0" presId="urn:microsoft.com/office/officeart/2005/8/layout/hList9"/>
    <dgm:cxn modelId="{ED329F6C-0930-46E4-B3E5-BD41CEFD6A81}" type="presParOf" srcId="{D64A05BA-B8A2-42C3-80C6-57EB79B06804}" destId="{2117CF0C-9D1E-4A26-BA90-540D8269949A}" srcOrd="1" destOrd="0" presId="urn:microsoft.com/office/officeart/2005/8/layout/hList9"/>
    <dgm:cxn modelId="{CE3B7690-3480-46B9-AFC1-3701AAF8E385}" type="presParOf" srcId="{A7C222B9-B8F5-4E72-B158-418CA4E2C1FE}" destId="{7BC7D3DD-5678-4B98-8892-1ECA48F47F41}" srcOrd="2" destOrd="0" presId="urn:microsoft.com/office/officeart/2005/8/layout/hList9"/>
    <dgm:cxn modelId="{902ECF98-DD96-4271-B901-2CC9E4256181}" type="presParOf" srcId="{7BC7D3DD-5678-4B98-8892-1ECA48F47F41}" destId="{07FCD0D3-4563-4859-A987-9B15F4FF9615}" srcOrd="0" destOrd="0" presId="urn:microsoft.com/office/officeart/2005/8/layout/hList9"/>
    <dgm:cxn modelId="{DB473605-1CA1-42C9-9AA2-B9AF8C0BA9CD}" type="presParOf" srcId="{7BC7D3DD-5678-4B98-8892-1ECA48F47F41}" destId="{94A6A203-BB26-4333-B0F6-6FDFDA2D70A4}" srcOrd="1" destOrd="0" presId="urn:microsoft.com/office/officeart/2005/8/layout/hList9"/>
    <dgm:cxn modelId="{A352D5EE-DEA1-4322-9956-8B5F2FFEC4EF}" type="presParOf" srcId="{5C455B83-5BDC-44F6-903B-17F044FF38DB}" destId="{9F76DB00-84CD-48DC-A48D-104C3CAE7304}" srcOrd="2" destOrd="0" presId="urn:microsoft.com/office/officeart/2005/8/layout/hList9"/>
    <dgm:cxn modelId="{9B5832EE-1A08-4403-BCDE-245EAA151253}" type="presParOf" srcId="{5C455B83-5BDC-44F6-903B-17F044FF38DB}" destId="{9B321E08-5679-4866-AC75-666577B80368}" srcOrd="3" destOrd="0" presId="urn:microsoft.com/office/officeart/2005/8/layout/hList9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DD824E-F8AC-4CFD-99C6-AAF294B51355}">
      <dsp:nvSpPr>
        <dsp:cNvPr id="0" name=""/>
        <dsp:cNvSpPr/>
      </dsp:nvSpPr>
      <dsp:spPr>
        <a:xfrm rot="5400000">
          <a:off x="-121887" y="121896"/>
          <a:ext cx="812586" cy="56881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sz="500" kern="1200"/>
            <a:t>Menaxhimi i rrezikut në dogana</a:t>
          </a:r>
          <a:endParaRPr lang="sq-AL" sz="500" kern="1200" dirty="0"/>
        </a:p>
      </dsp:txBody>
      <dsp:txXfrm rot="-5400000">
        <a:off x="1" y="284413"/>
        <a:ext cx="568810" cy="243776"/>
      </dsp:txXfrm>
    </dsp:sp>
    <dsp:sp modelId="{1F8761D6-7AD1-4C72-841A-2D58C650A46C}">
      <dsp:nvSpPr>
        <dsp:cNvPr id="0" name=""/>
        <dsp:cNvSpPr/>
      </dsp:nvSpPr>
      <dsp:spPr>
        <a:xfrm rot="5400000">
          <a:off x="4135114" y="-3566295"/>
          <a:ext cx="528181" cy="766078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hlinkClick xmlns:r="http://schemas.openxmlformats.org/officeDocument/2006/relationships" r:id="rId1"/>
            </a:rPr>
            <a:t>Menaxhimi i rrezikut </a:t>
          </a:r>
          <a:r>
            <a:rPr sz="1100" kern="1200"/>
            <a:t>është baza për përzgjedhjen e bazuar në rrezik, e cila garanton që ndërprerjet bëhen kryesisht për ngarkesat me rrezik të lartë</a:t>
          </a:r>
          <a:endParaRPr lang="sq-AL" sz="1100" kern="1200" dirty="0"/>
        </a:p>
      </dsp:txBody>
      <dsp:txXfrm rot="-5400000">
        <a:off x="568810" y="25793"/>
        <a:ext cx="7635005" cy="476613"/>
      </dsp:txXfrm>
    </dsp:sp>
    <dsp:sp modelId="{A0852915-5E49-46BA-9B91-C17F820D1FC4}">
      <dsp:nvSpPr>
        <dsp:cNvPr id="0" name=""/>
        <dsp:cNvSpPr/>
      </dsp:nvSpPr>
      <dsp:spPr>
        <a:xfrm rot="5400000">
          <a:off x="-121887" y="850521"/>
          <a:ext cx="812586" cy="56881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sz="500" kern="1200"/>
            <a:t>Përpunimi përpara mbërritjes</a:t>
          </a:r>
          <a:endParaRPr lang="sq-AL" sz="500" kern="1200" dirty="0"/>
        </a:p>
      </dsp:txBody>
      <dsp:txXfrm rot="-5400000">
        <a:off x="1" y="1013038"/>
        <a:ext cx="568810" cy="243776"/>
      </dsp:txXfrm>
    </dsp:sp>
    <dsp:sp modelId="{C4425A92-33D1-4EAD-A25F-3492F26B48DF}">
      <dsp:nvSpPr>
        <dsp:cNvPr id="0" name=""/>
        <dsp:cNvSpPr/>
      </dsp:nvSpPr>
      <dsp:spPr>
        <a:xfrm rot="5400000">
          <a:off x="4135114" y="-2846449"/>
          <a:ext cx="528181" cy="766078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hlinkClick xmlns:r="http://schemas.openxmlformats.org/officeDocument/2006/relationships" r:id="rId2"/>
            </a:rPr>
            <a:t>Përpunimi përpara mbërritjes</a:t>
          </a:r>
          <a:r>
            <a:rPr sz="1100" kern="1200"/>
            <a:t> ka të bëjë me përdorimin optimal të kohës për vlerësimin e rrezikut dhe vendimet e zhdoganimit gjatë transportit të mallrave. Kjo çon në zhdoganimin menjëherë pas mbërritjes.</a:t>
          </a:r>
          <a:endParaRPr lang="sq-AL" sz="1100" kern="1200" dirty="0"/>
        </a:p>
      </dsp:txBody>
      <dsp:txXfrm rot="-5400000">
        <a:off x="568810" y="745639"/>
        <a:ext cx="7635005" cy="476613"/>
      </dsp:txXfrm>
    </dsp:sp>
    <dsp:sp modelId="{AF9BD097-348F-43A9-996D-3259C6CE9537}">
      <dsp:nvSpPr>
        <dsp:cNvPr id="0" name=""/>
        <dsp:cNvSpPr/>
      </dsp:nvSpPr>
      <dsp:spPr>
        <a:xfrm rot="5400000">
          <a:off x="-121887" y="1579146"/>
          <a:ext cx="812586" cy="56881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sz="500" kern="1200"/>
            <a:t>Pagesat</a:t>
          </a:r>
          <a:endParaRPr lang="sq-AL" sz="500" kern="1200" dirty="0"/>
        </a:p>
      </dsp:txBody>
      <dsp:txXfrm rot="-5400000">
        <a:off x="1" y="1741663"/>
        <a:ext cx="568810" cy="243776"/>
      </dsp:txXfrm>
    </dsp:sp>
    <dsp:sp modelId="{7211B2E2-C84A-4B5A-B0BB-3F2C5108F67E}">
      <dsp:nvSpPr>
        <dsp:cNvPr id="0" name=""/>
        <dsp:cNvSpPr/>
      </dsp:nvSpPr>
      <dsp:spPr>
        <a:xfrm rot="5400000">
          <a:off x="4135114" y="-2109045"/>
          <a:ext cx="528181" cy="766078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sz="1100" kern="1200"/>
            <a:t>Marrëveshjet për </a:t>
          </a:r>
          <a:r>
            <a:rPr lang="en-US" sz="1100" kern="1200" dirty="0" smtClean="0">
              <a:hlinkClick xmlns:r="http://schemas.openxmlformats.org/officeDocument/2006/relationships" r:id="rId3"/>
            </a:rPr>
            <a:t>pagesat elektronike</a:t>
          </a:r>
          <a:r>
            <a:rPr sz="1100" kern="1200"/>
            <a:t> si dhe për </a:t>
          </a:r>
          <a:r>
            <a:rPr lang="en-US" sz="1100" kern="1200" dirty="0" smtClean="0">
              <a:hlinkClick xmlns:r="http://schemas.openxmlformats.org/officeDocument/2006/relationships" r:id="rId4"/>
            </a:rPr>
            <a:t>detyrimet/taksat e shtyra</a:t>
          </a:r>
          <a:r>
            <a:rPr sz="1100" kern="1200"/>
            <a:t> reduktojnë menaxhimin e parave cash/çeqeve që konsumojnë kohë gjatë importit.</a:t>
          </a:r>
          <a:endParaRPr lang="sq-AL" sz="1100" kern="1200" dirty="0"/>
        </a:p>
      </dsp:txBody>
      <dsp:txXfrm rot="-5400000">
        <a:off x="568810" y="1483043"/>
        <a:ext cx="7635005" cy="476613"/>
      </dsp:txXfrm>
    </dsp:sp>
    <dsp:sp modelId="{D772B9D5-F581-47C0-98CB-7B25A5FF2C4C}">
      <dsp:nvSpPr>
        <dsp:cNvPr id="0" name=""/>
        <dsp:cNvSpPr/>
      </dsp:nvSpPr>
      <dsp:spPr>
        <a:xfrm rot="5400000">
          <a:off x="-121887" y="2307771"/>
          <a:ext cx="812586" cy="56881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sz="500" kern="1200"/>
            <a:t>Tregtarët e autorizuar</a:t>
          </a:r>
          <a:endParaRPr lang="sq-AL" sz="500" kern="1200" dirty="0"/>
        </a:p>
      </dsp:txBody>
      <dsp:txXfrm rot="-5400000">
        <a:off x="1" y="2470288"/>
        <a:ext cx="568810" cy="243776"/>
      </dsp:txXfrm>
    </dsp:sp>
    <dsp:sp modelId="{2C6DA494-7721-47C3-BA66-BBB271D49E22}">
      <dsp:nvSpPr>
        <dsp:cNvPr id="0" name=""/>
        <dsp:cNvSpPr/>
      </dsp:nvSpPr>
      <dsp:spPr>
        <a:xfrm rot="5400000">
          <a:off x="4135114" y="-1380420"/>
          <a:ext cx="528181" cy="766078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sz="1100" kern="1200"/>
            <a:t>Programet për</a:t>
          </a:r>
          <a:r>
            <a:rPr lang="en-US" sz="1100" kern="1200" dirty="0" smtClean="0">
              <a:hlinkClick xmlns:r="http://schemas.openxmlformats.org/officeDocument/2006/relationships" r:id="rId5"/>
            </a:rPr>
            <a:t>tregtarët e autorizuar </a:t>
          </a:r>
          <a:r>
            <a:rPr sz="1100" kern="1200"/>
            <a:t>mundësojnë që doganat t'i rendisin tregtarët që respektojnë rregullat si tregtarë me rrezik të ulët, duke u bazuar në historikun e tyre tregtar/të zhdoganimit, duke çuar në reduktimin e kohës së zhdoganimit.</a:t>
          </a:r>
          <a:endParaRPr lang="sq-AL" sz="1100" kern="1200" dirty="0"/>
        </a:p>
      </dsp:txBody>
      <dsp:txXfrm rot="-5400000">
        <a:off x="568810" y="2211668"/>
        <a:ext cx="7635005" cy="476613"/>
      </dsp:txXfrm>
    </dsp:sp>
    <dsp:sp modelId="{782DB8CD-087C-412E-8828-27309BB76A3A}">
      <dsp:nvSpPr>
        <dsp:cNvPr id="0" name=""/>
        <dsp:cNvSpPr/>
      </dsp:nvSpPr>
      <dsp:spPr>
        <a:xfrm rot="5400000">
          <a:off x="-121887" y="3036396"/>
          <a:ext cx="812586" cy="56881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sz="500" kern="1200"/>
            <a:t>De Minimis</a:t>
          </a:r>
          <a:endParaRPr lang="sq-AL" sz="500" kern="1200" dirty="0"/>
        </a:p>
      </dsp:txBody>
      <dsp:txXfrm rot="-5400000">
        <a:off x="1" y="3198913"/>
        <a:ext cx="568810" cy="243776"/>
      </dsp:txXfrm>
    </dsp:sp>
    <dsp:sp modelId="{26002718-7C43-4DFB-B954-36D23FED707C}">
      <dsp:nvSpPr>
        <dsp:cNvPr id="0" name=""/>
        <dsp:cNvSpPr/>
      </dsp:nvSpPr>
      <dsp:spPr>
        <a:xfrm rot="5400000">
          <a:off x="4135114" y="-651795"/>
          <a:ext cx="528181" cy="766078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sz="1100" kern="1200"/>
            <a:t>Regjimet </a:t>
          </a:r>
          <a:r>
            <a:rPr lang="en-US" sz="1100" kern="1200" dirty="0" smtClean="0">
              <a:hlinkClick xmlns:r="http://schemas.openxmlformats.org/officeDocument/2006/relationships" r:id="rId6"/>
            </a:rPr>
            <a:t>De Minimis</a:t>
          </a:r>
          <a:r>
            <a:rPr sz="1100" kern="1200"/>
            <a:t> ndihmojnë në reduktimin e formaliteteve për ngarkesat e vogla, me vlerë të ulët apo ngarkesa që nuk i nënshtrohen detyrimeve doganore.</a:t>
          </a:r>
          <a:endParaRPr lang="sq-AL" sz="1100" kern="1200" dirty="0"/>
        </a:p>
      </dsp:txBody>
      <dsp:txXfrm rot="-5400000">
        <a:off x="568810" y="2940293"/>
        <a:ext cx="7635005" cy="476613"/>
      </dsp:txXfrm>
    </dsp:sp>
    <dsp:sp modelId="{3F0E7EB6-FAFE-408E-9263-8F721C81A229}">
      <dsp:nvSpPr>
        <dsp:cNvPr id="0" name=""/>
        <dsp:cNvSpPr/>
      </dsp:nvSpPr>
      <dsp:spPr>
        <a:xfrm rot="5400000">
          <a:off x="-121887" y="3765021"/>
          <a:ext cx="812586" cy="56881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sz="500" kern="1200"/>
            <a:t>Ndërhyrja e koordinuar</a:t>
          </a:r>
          <a:endParaRPr lang="sq-AL" sz="500" kern="1200" dirty="0"/>
        </a:p>
      </dsp:txBody>
      <dsp:txXfrm rot="-5400000">
        <a:off x="1" y="3927538"/>
        <a:ext cx="568810" cy="243776"/>
      </dsp:txXfrm>
    </dsp:sp>
    <dsp:sp modelId="{C301D460-E8D9-472A-A627-AEF95C2E236C}">
      <dsp:nvSpPr>
        <dsp:cNvPr id="0" name=""/>
        <dsp:cNvSpPr/>
      </dsp:nvSpPr>
      <dsp:spPr>
        <a:xfrm rot="5400000">
          <a:off x="4135114" y="76829"/>
          <a:ext cx="528181" cy="766078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100" kern="1200" dirty="0" smtClean="0">
              <a:hlinkClick xmlns:r="http://schemas.openxmlformats.org/officeDocument/2006/relationships" r:id="rId7"/>
            </a:rPr>
            <a:t>Ndërhyrja e koordinuar</a:t>
          </a:r>
          <a:r>
            <a:rPr sz="1100" kern="1200"/>
            <a:t> kërkon që të gjitha agjencitë përkatëse kufitare të punojnë së bashku dhe të kryejnë kontrolle fizike në të njëjtën kohë.</a:t>
          </a:r>
          <a:endParaRPr lang="sq-AL" sz="1100" kern="1200" dirty="0"/>
        </a:p>
      </dsp:txBody>
      <dsp:txXfrm rot="-5400000">
        <a:off x="568810" y="3668917"/>
        <a:ext cx="7635005" cy="476613"/>
      </dsp:txXfrm>
    </dsp:sp>
    <dsp:sp modelId="{E468BF34-280D-4078-A60F-8E289D3A01CA}">
      <dsp:nvSpPr>
        <dsp:cNvPr id="0" name=""/>
        <dsp:cNvSpPr/>
      </dsp:nvSpPr>
      <dsp:spPr>
        <a:xfrm rot="5400000">
          <a:off x="-121887" y="4493646"/>
          <a:ext cx="812586" cy="56881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75" tIns="3175" rIns="3175" bIns="3175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sz="500" kern="1200"/>
            <a:t>Kontrollet e përbashkëta kufitare</a:t>
          </a:r>
          <a:endParaRPr lang="sq-AL" sz="500" kern="1200" dirty="0"/>
        </a:p>
      </dsp:txBody>
      <dsp:txXfrm rot="-5400000">
        <a:off x="1" y="4656163"/>
        <a:ext cx="568810" cy="243776"/>
      </dsp:txXfrm>
    </dsp:sp>
    <dsp:sp modelId="{72364523-5496-48E6-88E8-921B5141A6B7}">
      <dsp:nvSpPr>
        <dsp:cNvPr id="0" name=""/>
        <dsp:cNvSpPr/>
      </dsp:nvSpPr>
      <dsp:spPr>
        <a:xfrm rot="5400000">
          <a:off x="4135114" y="805454"/>
          <a:ext cx="528181" cy="766078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sz="1100" kern="1200"/>
            <a:t>Shtetet fqinje që kryejnë importe dhe eksporte duhet të koordinohen për të kryer veprimtari </a:t>
          </a:r>
          <a:r>
            <a:rPr lang="en-US" sz="1100" kern="1200" dirty="0" smtClean="0">
              <a:hlinkClick xmlns:r="http://schemas.openxmlformats.org/officeDocument/2006/relationships" r:id="rId8"/>
            </a:rPr>
            <a:t>të përbashkëta zhdoganimi dhe kontrolli në kufi</a:t>
          </a:r>
          <a:r>
            <a:rPr sz="1100" kern="1200"/>
            <a:t>, p.sh. </a:t>
          </a:r>
          <a:r>
            <a:rPr lang="en-US" sz="1100" kern="1200" dirty="0" smtClean="0">
              <a:hlinkClick xmlns:r="http://schemas.openxmlformats.org/officeDocument/2006/relationships" r:id="rId9"/>
            </a:rPr>
            <a:t>oraret e punës</a:t>
          </a:r>
          <a:r>
            <a:rPr sz="1100" kern="1200"/>
            <a:t>, shmangien e ndërprerjeve gjatë procesit të kalimit të kufirit. </a:t>
          </a:r>
          <a:endParaRPr lang="sq-AL" sz="1100" kern="1200" dirty="0"/>
        </a:p>
      </dsp:txBody>
      <dsp:txXfrm rot="-5400000">
        <a:off x="568810" y="4397542"/>
        <a:ext cx="7635005" cy="47661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4727CB-CA2D-407D-B23F-8F1FDBF0951B}">
      <dsp:nvSpPr>
        <dsp:cNvPr id="0" name=""/>
        <dsp:cNvSpPr/>
      </dsp:nvSpPr>
      <dsp:spPr>
        <a:xfrm>
          <a:off x="1405030" y="1059671"/>
          <a:ext cx="2632583" cy="1755933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06680" rIns="106680" bIns="10668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>
              <a:solidFill>
                <a:schemeClr val="tx2"/>
              </a:solidFill>
            </a:rPr>
            <a:t>Synon të zbatojë dhe të nxisë </a:t>
          </a:r>
          <a:r>
            <a:rPr lang="en-US" sz="1500" kern="1200" dirty="0" smtClean="0">
              <a:solidFill>
                <a:schemeClr val="accent6"/>
              </a:solidFill>
            </a:rPr>
            <a:t>parimet kryesore për lehtësimin e tregtisë </a:t>
          </a:r>
          <a:r>
            <a:rPr lang="en-US" sz="1500" kern="1200" dirty="0" smtClean="0">
              <a:solidFill>
                <a:schemeClr val="tx2"/>
              </a:solidFill>
            </a:rPr>
            <a:t>si për shembull </a:t>
          </a:r>
          <a:r>
            <a:rPr lang="en-US" sz="1500" kern="1200" dirty="0" smtClean="0">
              <a:solidFill>
                <a:schemeClr val="accent6"/>
              </a:solidFill>
            </a:rPr>
            <a:t>parashikueshmërinë</a:t>
          </a:r>
          <a:r>
            <a:rPr lang="en-US" sz="1500" kern="1200" dirty="0" smtClean="0">
              <a:solidFill>
                <a:schemeClr val="tx2"/>
              </a:solidFill>
            </a:rPr>
            <a:t>, </a:t>
          </a:r>
          <a:r>
            <a:rPr lang="en-US" sz="1500" kern="1200" dirty="0" smtClean="0">
              <a:solidFill>
                <a:schemeClr val="accent6"/>
              </a:solidFill>
            </a:rPr>
            <a:t>konsistencën</a:t>
          </a:r>
          <a:r>
            <a:rPr lang="en-US" sz="1500" kern="1200" dirty="0" smtClean="0">
              <a:solidFill>
                <a:schemeClr val="tx2"/>
              </a:solidFill>
            </a:rPr>
            <a:t> dhe</a:t>
          </a:r>
          <a:r>
            <a:rPr lang="en-US" sz="1500" kern="1200" dirty="0" smtClean="0">
              <a:solidFill>
                <a:schemeClr val="accent6"/>
              </a:solidFill>
            </a:rPr>
            <a:t>transparencën</a:t>
          </a:r>
          <a:endParaRPr lang="sq-AL" sz="1500" kern="1200" dirty="0">
            <a:solidFill>
              <a:schemeClr val="accent6"/>
            </a:solidFill>
          </a:endParaRPr>
        </a:p>
      </dsp:txBody>
      <dsp:txXfrm>
        <a:off x="1826243" y="1059671"/>
        <a:ext cx="2211370" cy="1755933"/>
      </dsp:txXfrm>
    </dsp:sp>
    <dsp:sp modelId="{DA1BAA02-C083-46C8-970A-A3A5E1769D0C}">
      <dsp:nvSpPr>
        <dsp:cNvPr id="0" name=""/>
        <dsp:cNvSpPr/>
      </dsp:nvSpPr>
      <dsp:spPr>
        <a:xfrm>
          <a:off x="1405030" y="2815605"/>
          <a:ext cx="2632583" cy="1755933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06680" rIns="106680" bIns="10668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>
              <a:solidFill>
                <a:schemeClr val="tx2"/>
              </a:solidFill>
            </a:rPr>
            <a:t>Kërkon të përmirësojë </a:t>
          </a:r>
          <a:r>
            <a:rPr lang="en-US" sz="1500" kern="1200" dirty="0" smtClean="0">
              <a:solidFill>
                <a:schemeClr val="accent6"/>
              </a:solidFill>
            </a:rPr>
            <a:t>efikasitetin </a:t>
          </a:r>
          <a:r>
            <a:rPr lang="en-US" sz="1500" kern="1200" dirty="0" smtClean="0">
              <a:solidFill>
                <a:schemeClr val="tx2"/>
              </a:solidFill>
            </a:rPr>
            <a:t>dhe</a:t>
          </a:r>
          <a:r>
            <a:rPr lang="en-US" sz="1500" kern="1200" dirty="0" smtClean="0">
              <a:solidFill>
                <a:schemeClr val="accent6"/>
              </a:solidFill>
            </a:rPr>
            <a:t> efiçencën </a:t>
          </a:r>
          <a:r>
            <a:rPr lang="en-US" sz="1500" kern="1200" dirty="0" smtClean="0">
              <a:solidFill>
                <a:schemeClr val="tx2"/>
              </a:solidFill>
            </a:rPr>
            <a:t>e </a:t>
          </a:r>
          <a:r>
            <a:rPr lang="en-US" sz="1500" kern="1200" dirty="0" smtClean="0">
              <a:solidFill>
                <a:schemeClr val="accent6"/>
              </a:solidFill>
            </a:rPr>
            <a:t>doganave</a:t>
          </a:r>
          <a:r>
            <a:rPr sz="1500" kern="1200"/>
            <a:t> </a:t>
          </a:r>
          <a:endParaRPr lang="sq-AL" sz="1500" kern="1200" dirty="0" smtClean="0">
            <a:solidFill>
              <a:schemeClr val="tx2"/>
            </a:solidFill>
          </a:endParaRPr>
        </a:p>
      </dsp:txBody>
      <dsp:txXfrm>
        <a:off x="1826243" y="2815605"/>
        <a:ext cx="2211370" cy="1755933"/>
      </dsp:txXfrm>
    </dsp:sp>
    <dsp:sp modelId="{FDDED5BE-B6EB-4CE3-B1AA-1F3F564074C6}">
      <dsp:nvSpPr>
        <dsp:cNvPr id="0" name=""/>
        <dsp:cNvSpPr/>
      </dsp:nvSpPr>
      <dsp:spPr>
        <a:xfrm>
          <a:off x="985" y="357649"/>
          <a:ext cx="1755055" cy="175505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sz="1200" kern="1200" dirty="0" err="1"/>
            <a:t>TË</a:t>
          </a:r>
          <a:r>
            <a:rPr sz="1200" kern="1200" dirty="0"/>
            <a:t> </a:t>
          </a:r>
          <a:r>
            <a:rPr sz="1200" kern="1200" dirty="0" err="1"/>
            <a:t>PËRGJITHSHME</a:t>
          </a:r>
          <a:endParaRPr lang="sq-AL" sz="1200" kern="1200" dirty="0"/>
        </a:p>
      </dsp:txBody>
      <dsp:txXfrm>
        <a:off x="258007" y="614671"/>
        <a:ext cx="1241011" cy="124101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A74AE5-53CD-4341-B8A9-406942A4176B}">
      <dsp:nvSpPr>
        <dsp:cNvPr id="0" name=""/>
        <dsp:cNvSpPr/>
      </dsp:nvSpPr>
      <dsp:spPr>
        <a:xfrm>
          <a:off x="1405030" y="1059671"/>
          <a:ext cx="2632583" cy="1755933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13792" rIns="113792" bIns="113792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solidFill>
                <a:schemeClr val="tx2"/>
              </a:solidFill>
            </a:rPr>
            <a:t>Masa specifike që lidhen me procesin me rezultate të </a:t>
          </a:r>
          <a:r>
            <a:rPr lang="en-US" sz="1600" kern="1200" dirty="0" err="1" smtClean="0">
              <a:solidFill>
                <a:schemeClr val="tx2"/>
              </a:solidFill>
            </a:rPr>
            <a:t>prekshme</a:t>
          </a:r>
          <a:r>
            <a:rPr lang="en-US" sz="1600" kern="1200" dirty="0" smtClean="0">
              <a:solidFill>
                <a:schemeClr val="tx2"/>
              </a:solidFill>
            </a:rPr>
            <a:t> </a:t>
          </a:r>
          <a:r>
            <a:rPr lang="en-US" sz="1600" kern="1200" dirty="0" err="1" smtClean="0">
              <a:solidFill>
                <a:schemeClr val="tx2"/>
              </a:solidFill>
            </a:rPr>
            <a:t>mbi</a:t>
          </a:r>
          <a:r>
            <a:rPr lang="sq-AL" sz="1600" kern="1200" dirty="0" smtClean="0">
              <a:solidFill>
                <a:schemeClr val="tx2"/>
              </a:solidFill>
            </a:rPr>
            <a:t> </a:t>
          </a:r>
          <a:r>
            <a:rPr lang="en-US" sz="1600" kern="1200" dirty="0" err="1" smtClean="0">
              <a:solidFill>
                <a:schemeClr val="accent6"/>
              </a:solidFill>
            </a:rPr>
            <a:t>efiçencën</a:t>
          </a:r>
          <a:r>
            <a:rPr lang="en-US" sz="1600" kern="1200" dirty="0" smtClean="0">
              <a:solidFill>
                <a:schemeClr val="tx2"/>
              </a:solidFill>
            </a:rPr>
            <a:t> e </a:t>
          </a:r>
          <a:r>
            <a:rPr lang="en-US" sz="1600" kern="1200" dirty="0" smtClean="0">
              <a:solidFill>
                <a:schemeClr val="accent6"/>
              </a:solidFill>
            </a:rPr>
            <a:t>procesin e zhdoganimit në përgjithësi</a:t>
          </a:r>
          <a:endParaRPr lang="sq-AL" sz="1600" kern="1200" dirty="0">
            <a:solidFill>
              <a:schemeClr val="accent6"/>
            </a:solidFill>
          </a:endParaRPr>
        </a:p>
      </dsp:txBody>
      <dsp:txXfrm>
        <a:off x="1826243" y="1059671"/>
        <a:ext cx="2211370" cy="1755933"/>
      </dsp:txXfrm>
    </dsp:sp>
    <dsp:sp modelId="{07FCD0D3-4563-4859-A987-9B15F4FF9615}">
      <dsp:nvSpPr>
        <dsp:cNvPr id="0" name=""/>
        <dsp:cNvSpPr/>
      </dsp:nvSpPr>
      <dsp:spPr>
        <a:xfrm>
          <a:off x="1405030" y="2815605"/>
          <a:ext cx="2632583" cy="1755933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13792" rIns="113792" bIns="113792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>
              <a:solidFill>
                <a:schemeClr val="tx2"/>
              </a:solidFill>
            </a:rPr>
            <a:t>Mund të arrihen në nivel </a:t>
          </a:r>
          <a:r>
            <a:rPr lang="en-US" sz="1600" kern="1200" dirty="0" smtClean="0">
              <a:solidFill>
                <a:schemeClr val="accent6"/>
              </a:solidFill>
            </a:rPr>
            <a:t>vendor</a:t>
          </a:r>
          <a:r>
            <a:rPr lang="en-US" sz="1600" kern="1200" dirty="0" smtClean="0">
              <a:solidFill>
                <a:schemeClr val="tx2"/>
              </a:solidFill>
            </a:rPr>
            <a:t> dhe relativisht </a:t>
          </a:r>
          <a:r>
            <a:rPr lang="en-US" sz="1600" kern="1200" dirty="0" smtClean="0">
              <a:solidFill>
                <a:schemeClr val="accent6"/>
              </a:solidFill>
            </a:rPr>
            <a:t>pa shpenzime</a:t>
          </a:r>
          <a:r>
            <a:rPr lang="en-US" sz="1600" kern="1200" dirty="0" smtClean="0">
              <a:solidFill>
                <a:schemeClr val="tx2"/>
              </a:solidFill>
            </a:rPr>
            <a:t> për t'u zbatuar</a:t>
          </a:r>
          <a:endParaRPr lang="sq-AL" sz="1600" kern="1200" dirty="0">
            <a:solidFill>
              <a:schemeClr val="tx2"/>
            </a:solidFill>
          </a:endParaRPr>
        </a:p>
      </dsp:txBody>
      <dsp:txXfrm>
        <a:off x="1826243" y="2815605"/>
        <a:ext cx="2211370" cy="1755933"/>
      </dsp:txXfrm>
    </dsp:sp>
    <dsp:sp modelId="{9B321E08-5679-4866-AC75-666577B80368}">
      <dsp:nvSpPr>
        <dsp:cNvPr id="0" name=""/>
        <dsp:cNvSpPr/>
      </dsp:nvSpPr>
      <dsp:spPr>
        <a:xfrm>
          <a:off x="985" y="357649"/>
          <a:ext cx="1755055" cy="175505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sz="1800" kern="1200"/>
            <a:t>MASAT QË LIDHEN ME PROCESIN</a:t>
          </a:r>
          <a:endParaRPr lang="sq-AL" sz="1800" kern="1200" dirty="0"/>
        </a:p>
      </dsp:txBody>
      <dsp:txXfrm>
        <a:off x="258007" y="614671"/>
        <a:ext cx="1241011" cy="124101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9">
  <dgm:title val=""/>
  <dgm:desc val=""/>
  <dgm:catLst>
    <dgm:cat type="list" pri="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3" srcId="0" destId="1" srcOrd="0" destOrd="0"/>
        <dgm:cxn modelId="4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2"/>
        <dgm:pt modelId="21"/>
        <dgm:pt modelId="22"/>
        <dgm:pt modelId="23"/>
        <dgm:pt modelId="24"/>
        <dgm:pt modelId="3"/>
        <dgm:pt modelId="31"/>
        <dgm:pt modelId="32"/>
        <dgm:pt modelId="33"/>
        <dgm:pt modelId="34"/>
      </dgm:ptLst>
      <dgm:cxnLst>
        <dgm:cxn modelId="4" srcId="0" destId="1" srcOrd="0" destOrd="0"/>
        <dgm:cxn modelId="5" srcId="0" destId="2" srcOrd="1" destOrd="0"/>
        <dgm:cxn modelId="6" srcId="0" destId="3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18" srcId="1" destId="14" srcOrd="0" destOrd="0"/>
        <dgm:cxn modelId="25" srcId="2" destId="21" srcOrd="0" destOrd="0"/>
        <dgm:cxn modelId="26" srcId="2" destId="22" srcOrd="0" destOrd="0"/>
        <dgm:cxn modelId="27" srcId="2" destId="23" srcOrd="0" destOrd="0"/>
        <dgm:cxn modelId="28" srcId="2" destId="24" srcOrd="0" destOrd="0"/>
        <dgm:cxn modelId="35" srcId="3" destId="31" srcOrd="0" destOrd="0"/>
        <dgm:cxn modelId="36" srcId="3" destId="32" srcOrd="0" destOrd="0"/>
        <dgm:cxn modelId="37" srcId="3" destId="33" srcOrd="0" destOrd="0"/>
        <dgm:cxn modelId="38" srcId="3" destId="34" srcOrd="0" destOrd="0"/>
      </dgm:cxnLst>
      <dgm:bg/>
      <dgm:whole/>
    </dgm:dataModel>
  </dgm:clrData>
  <dgm:layoutNode name="list">
    <dgm:varLst>
      <dgm:dir/>
      <dgm:animLvl val="lvl"/>
    </dgm:varLst>
    <dgm:choose name="Name0">
      <dgm:if name="Name1" func="var" arg="dir" op="equ" val="norm">
        <dgm:alg type="lin">
          <dgm:param type="linDir" val="fromL"/>
          <dgm:param type="fallback" val="2D"/>
          <dgm:param type="nodeVertAlign" val="t"/>
        </dgm:alg>
      </dgm:if>
      <dgm:else name="Name2">
        <dgm:alg type="lin">
          <dgm:param type="linDir" val="fromR"/>
          <dgm:param type="fallback" val="2D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ircle" refType="w" fact="0.5"/>
      <dgm:constr type="w" for="ch" forName="vertFlow" refType="w" fact="0.75"/>
      <dgm:constr type="h" for="des" forName="firstComp" refType="w" refFor="ch" refForName="vertFlow" fact="0.667"/>
      <dgm:constr type="h" for="des" forName="comp" refType="h" refFor="des" refForName="firstComp" op="equ"/>
      <dgm:constr type="h" for="des" forName="topSpace" refType="w" refFor="ch" refForName="circle" op="equ" fact="0.4"/>
      <dgm:constr type="w" for="ch" forName="posSpace" refType="w" fact="0.4"/>
      <dgm:constr type="w" for="ch" forName="negSpace" refType="w" fact="-1.15"/>
      <dgm:constr type="w" for="ch" forName="transSpace" refType="w" fact="0.75"/>
      <dgm:constr type="primFontSz" for="ch" forName="circle" op="equ" val="65"/>
      <dgm:constr type="primFontSz" for="des" forName="firstChildTx" val="65"/>
      <dgm:constr type="primFontSz" for="des" forName="childTx" refType="primFontSz" refFor="des" refForName="firstChildTx" op="equ"/>
    </dgm:constrLst>
    <dgm:ruleLst/>
    <dgm:forEach name="Name3" axis="ch" ptType="node">
      <dgm:layoutNode name="pos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vertFlow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firstComp" refType="w"/>
          <dgm:constr type="w" for="ch" forName="comp" refType="w"/>
        </dgm:constrLst>
        <dgm:ruleLst/>
        <dgm:layoutNode name="top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firstComp">
          <dgm:alg type="composite"/>
          <dgm:shape xmlns:r="http://schemas.openxmlformats.org/officeDocument/2006/relationships" r:blip="">
            <dgm:adjLst/>
          </dgm:shape>
          <dgm:presOf/>
          <dgm:choose name="Name4">
            <dgm:if name="Name5" func="var" arg="dir" op="equ" val="norm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 refType="w" fact="0.16"/>
                <dgm:constr type="r" for="ch" forName="firstChildTx" refType="w"/>
                <dgm:constr type="h" for="ch" forName="firstChildTx" refFor="ch" refForName="firstChild" op="equ"/>
              </dgm:constrLst>
            </dgm:if>
            <dgm:else name="Name6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/>
                <dgm:constr type="r" for="ch" forName="firstChildTx" refType="w" fact="0.825"/>
                <dgm:constr type="h" for="ch" forName="firstChildTx" refFor="ch" refForName="firstChild" op="equ"/>
              </dgm:constrLst>
            </dgm:else>
          </dgm:choose>
          <dgm:ruleLst/>
          <dgm:layoutNode name="firstChild" styleLbl="bgAccFollowNode1">
            <dgm:alg type="sp"/>
            <dgm:shape xmlns:r="http://schemas.openxmlformats.org/officeDocument/2006/relationships" type="rect" r:blip="">
              <dgm:adjLst/>
            </dgm:shape>
            <dgm:presOf axis="ch desOrSelf" ptType="node node" cnt="1 0"/>
            <dgm:constrLst/>
            <dgm:ruleLst/>
          </dgm:layoutNode>
          <dgm:layoutNode name="firstChildTx" styleLbl="bgAccFollowNode1">
            <dgm:varLst>
              <dgm:bulletEnabled val="1"/>
            </dgm:varLst>
            <dgm:alg type="tx">
              <dgm:param type="parTxLTRAlign" val="l"/>
            </dgm:alg>
            <dgm:shape xmlns:r="http://schemas.openxmlformats.org/officeDocument/2006/relationships" type="rect" r:blip="" hideGeom="1">
              <dgm:adjLst/>
            </dgm:shape>
            <dgm:presOf axis="ch desOrSelf" ptType="node node" cnt="1 0"/>
            <dgm:choose name="Name7">
              <dgm:if name="Name8" func="var" arg="dir" op="equ" val="norm">
                <dgm:constrLst>
                  <dgm:constr type="primFontSz" val="65"/>
                  <dgm:constr type="lMarg"/>
                </dgm:constrLst>
              </dgm:if>
              <dgm:else name="Name9">
                <dgm:constrLst>
                  <dgm:constr type="primFontSz" val="65"/>
                  <dgm:constr type="r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forEach name="Name10" axis="ch" ptType="node" st="2">
          <dgm:layoutNode name="comp">
            <dgm:alg type="composite"/>
            <dgm:shape xmlns:r="http://schemas.openxmlformats.org/officeDocument/2006/relationships" r:blip="">
              <dgm:adjLst/>
            </dgm:shape>
            <dgm:presOf/>
            <dgm:choose name="Name11">
              <dgm:if name="Name12" func="var" arg="dir" op="equ" val="norm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 refType="w" fact="0.16"/>
                  <dgm:constr type="r" for="ch" forName="childTx" refType="w"/>
                  <dgm:constr type="h" for="ch" forName="childTx" refFor="ch" refForName="child" op="equ"/>
                </dgm:constrLst>
              </dgm:if>
              <dgm:else name="Name13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/>
                  <dgm:constr type="r" for="ch" forName="childTx" refType="w" fact="0.825"/>
                  <dgm:constr type="h" for="ch" forName="childTx" refFor="ch" refForName="child" op="equ"/>
                </dgm:constrLst>
              </dgm:else>
            </dgm:choose>
            <dgm:ruleLst/>
            <dgm:layoutNode name="child" styleLbl="bgAccFollowNode1">
              <dgm:alg type="sp"/>
              <dgm:shape xmlns:r="http://schemas.openxmlformats.org/officeDocument/2006/relationships" type="rect" r:blip="">
                <dgm:adjLst/>
              </dgm:shape>
              <dgm:presOf axis="desOrSelf" ptType="node"/>
              <dgm:constrLst/>
              <dgm:ruleLst/>
            </dgm:layoutNode>
            <dgm:layoutNode name="childTx" styleLbl="bgAccFollowNode1">
              <dgm:varLst>
                <dgm:bulletEnabled val="1"/>
              </dgm:varLst>
              <dgm:alg type="tx">
                <dgm:param type="parTxLTRAlign" val="l"/>
              </dgm:alg>
              <dgm:shape xmlns:r="http://schemas.openxmlformats.org/officeDocument/2006/relationships" type="rect" r:blip="" hideGeom="1">
                <dgm:adjLst/>
              </dgm:shape>
              <dgm:presOf axis="desOrSelf" ptType="node"/>
              <dgm:choose name="Name14">
                <dgm:if name="Name15" func="var" arg="dir" op="equ" val="norm">
                  <dgm:constrLst>
                    <dgm:constr type="primFontSz" val="65"/>
                    <dgm:constr type="lMarg"/>
                  </dgm:constrLst>
                </dgm:if>
                <dgm:else name="Name16">
                  <dgm:constrLst>
                    <dgm:constr type="primFontSz" val="65"/>
                    <dgm:constr type="rMarg"/>
                  </dgm:constrLst>
                </dgm:else>
              </dgm:choose>
              <dgm:ruleLst>
                <dgm:rule type="primFontSz" val="5" fact="NaN" max="NaN"/>
              </dgm:ruleLst>
            </dgm:layoutNode>
          </dgm:layoutNode>
        </dgm:forEach>
      </dgm:layoutNode>
      <dgm:layoutNode name="neg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ircle" styleLbl="node1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lMarg"/>
          <dgm:constr type="rMarg"/>
          <dgm:constr type="tMarg"/>
          <dgm:constr type="bMarg"/>
          <dgm:constr type="h" refType="w"/>
        </dgm:constrLst>
        <dgm:ruleLst>
          <dgm:rule type="primFontSz" val="5" fact="NaN" max="NaN"/>
        </dgm:ruleLst>
      </dgm:layoutNode>
      <dgm:forEach name="Name17" axis="followSib" ptType="sibTrans" cnt="1">
        <dgm:layoutNode name="trans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9">
  <dgm:title val=""/>
  <dgm:desc val=""/>
  <dgm:catLst>
    <dgm:cat type="list" pri="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3" srcId="0" destId="1" srcOrd="0" destOrd="0"/>
        <dgm:cxn modelId="4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2"/>
        <dgm:pt modelId="21"/>
        <dgm:pt modelId="22"/>
        <dgm:pt modelId="23"/>
        <dgm:pt modelId="24"/>
        <dgm:pt modelId="3"/>
        <dgm:pt modelId="31"/>
        <dgm:pt modelId="32"/>
        <dgm:pt modelId="33"/>
        <dgm:pt modelId="34"/>
      </dgm:ptLst>
      <dgm:cxnLst>
        <dgm:cxn modelId="4" srcId="0" destId="1" srcOrd="0" destOrd="0"/>
        <dgm:cxn modelId="5" srcId="0" destId="2" srcOrd="1" destOrd="0"/>
        <dgm:cxn modelId="6" srcId="0" destId="3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18" srcId="1" destId="14" srcOrd="0" destOrd="0"/>
        <dgm:cxn modelId="25" srcId="2" destId="21" srcOrd="0" destOrd="0"/>
        <dgm:cxn modelId="26" srcId="2" destId="22" srcOrd="0" destOrd="0"/>
        <dgm:cxn modelId="27" srcId="2" destId="23" srcOrd="0" destOrd="0"/>
        <dgm:cxn modelId="28" srcId="2" destId="24" srcOrd="0" destOrd="0"/>
        <dgm:cxn modelId="35" srcId="3" destId="31" srcOrd="0" destOrd="0"/>
        <dgm:cxn modelId="36" srcId="3" destId="32" srcOrd="0" destOrd="0"/>
        <dgm:cxn modelId="37" srcId="3" destId="33" srcOrd="0" destOrd="0"/>
        <dgm:cxn modelId="38" srcId="3" destId="34" srcOrd="0" destOrd="0"/>
      </dgm:cxnLst>
      <dgm:bg/>
      <dgm:whole/>
    </dgm:dataModel>
  </dgm:clrData>
  <dgm:layoutNode name="list">
    <dgm:varLst>
      <dgm:dir/>
      <dgm:animLvl val="lvl"/>
    </dgm:varLst>
    <dgm:choose name="Name0">
      <dgm:if name="Name1" func="var" arg="dir" op="equ" val="norm">
        <dgm:alg type="lin">
          <dgm:param type="linDir" val="fromL"/>
          <dgm:param type="fallback" val="2D"/>
          <dgm:param type="nodeVertAlign" val="t"/>
        </dgm:alg>
      </dgm:if>
      <dgm:else name="Name2">
        <dgm:alg type="lin">
          <dgm:param type="linDir" val="fromR"/>
          <dgm:param type="fallback" val="2D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ircle" refType="w" fact="0.5"/>
      <dgm:constr type="w" for="ch" forName="vertFlow" refType="w" fact="0.75"/>
      <dgm:constr type="h" for="des" forName="firstComp" refType="w" refFor="ch" refForName="vertFlow" fact="0.667"/>
      <dgm:constr type="h" for="des" forName="comp" refType="h" refFor="des" refForName="firstComp" op="equ"/>
      <dgm:constr type="h" for="des" forName="topSpace" refType="w" refFor="ch" refForName="circle" op="equ" fact="0.4"/>
      <dgm:constr type="w" for="ch" forName="posSpace" refType="w" fact="0.4"/>
      <dgm:constr type="w" for="ch" forName="negSpace" refType="w" fact="-1.15"/>
      <dgm:constr type="w" for="ch" forName="transSpace" refType="w" fact="0.75"/>
      <dgm:constr type="primFontSz" for="ch" forName="circle" op="equ" val="65"/>
      <dgm:constr type="primFontSz" for="des" forName="firstChildTx" val="65"/>
      <dgm:constr type="primFontSz" for="des" forName="childTx" refType="primFontSz" refFor="des" refForName="firstChildTx" op="equ"/>
    </dgm:constrLst>
    <dgm:ruleLst/>
    <dgm:forEach name="Name3" axis="ch" ptType="node">
      <dgm:layoutNode name="pos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vertFlow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firstComp" refType="w"/>
          <dgm:constr type="w" for="ch" forName="comp" refType="w"/>
        </dgm:constrLst>
        <dgm:ruleLst/>
        <dgm:layoutNode name="top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firstComp">
          <dgm:alg type="composite"/>
          <dgm:shape xmlns:r="http://schemas.openxmlformats.org/officeDocument/2006/relationships" r:blip="">
            <dgm:adjLst/>
          </dgm:shape>
          <dgm:presOf/>
          <dgm:choose name="Name4">
            <dgm:if name="Name5" func="var" arg="dir" op="equ" val="norm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 refType="w" fact="0.16"/>
                <dgm:constr type="r" for="ch" forName="firstChildTx" refType="w"/>
                <dgm:constr type="h" for="ch" forName="firstChildTx" refFor="ch" refForName="firstChild" op="equ"/>
              </dgm:constrLst>
            </dgm:if>
            <dgm:else name="Name6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/>
                <dgm:constr type="r" for="ch" forName="firstChildTx" refType="w" fact="0.825"/>
                <dgm:constr type="h" for="ch" forName="firstChildTx" refFor="ch" refForName="firstChild" op="equ"/>
              </dgm:constrLst>
            </dgm:else>
          </dgm:choose>
          <dgm:ruleLst/>
          <dgm:layoutNode name="firstChild" styleLbl="bgAccFollowNode1">
            <dgm:alg type="sp"/>
            <dgm:shape xmlns:r="http://schemas.openxmlformats.org/officeDocument/2006/relationships" type="rect" r:blip="">
              <dgm:adjLst/>
            </dgm:shape>
            <dgm:presOf axis="ch desOrSelf" ptType="node node" cnt="1 0"/>
            <dgm:constrLst/>
            <dgm:ruleLst/>
          </dgm:layoutNode>
          <dgm:layoutNode name="firstChildTx" styleLbl="bgAccFollowNode1">
            <dgm:varLst>
              <dgm:bulletEnabled val="1"/>
            </dgm:varLst>
            <dgm:alg type="tx">
              <dgm:param type="parTxLTRAlign" val="l"/>
            </dgm:alg>
            <dgm:shape xmlns:r="http://schemas.openxmlformats.org/officeDocument/2006/relationships" type="rect" r:blip="" hideGeom="1">
              <dgm:adjLst/>
            </dgm:shape>
            <dgm:presOf axis="ch desOrSelf" ptType="node node" cnt="1 0"/>
            <dgm:choose name="Name7">
              <dgm:if name="Name8" func="var" arg="dir" op="equ" val="norm">
                <dgm:constrLst>
                  <dgm:constr type="primFontSz" val="65"/>
                  <dgm:constr type="lMarg"/>
                </dgm:constrLst>
              </dgm:if>
              <dgm:else name="Name9">
                <dgm:constrLst>
                  <dgm:constr type="primFontSz" val="65"/>
                  <dgm:constr type="r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forEach name="Name10" axis="ch" ptType="node" st="2">
          <dgm:layoutNode name="comp">
            <dgm:alg type="composite"/>
            <dgm:shape xmlns:r="http://schemas.openxmlformats.org/officeDocument/2006/relationships" r:blip="">
              <dgm:adjLst/>
            </dgm:shape>
            <dgm:presOf/>
            <dgm:choose name="Name11">
              <dgm:if name="Name12" func="var" arg="dir" op="equ" val="norm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 refType="w" fact="0.16"/>
                  <dgm:constr type="r" for="ch" forName="childTx" refType="w"/>
                  <dgm:constr type="h" for="ch" forName="childTx" refFor="ch" refForName="child" op="equ"/>
                </dgm:constrLst>
              </dgm:if>
              <dgm:else name="Name13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/>
                  <dgm:constr type="r" for="ch" forName="childTx" refType="w" fact="0.825"/>
                  <dgm:constr type="h" for="ch" forName="childTx" refFor="ch" refForName="child" op="equ"/>
                </dgm:constrLst>
              </dgm:else>
            </dgm:choose>
            <dgm:ruleLst/>
            <dgm:layoutNode name="child" styleLbl="bgAccFollowNode1">
              <dgm:alg type="sp"/>
              <dgm:shape xmlns:r="http://schemas.openxmlformats.org/officeDocument/2006/relationships" type="rect" r:blip="">
                <dgm:adjLst/>
              </dgm:shape>
              <dgm:presOf axis="desOrSelf" ptType="node"/>
              <dgm:constrLst/>
              <dgm:ruleLst/>
            </dgm:layoutNode>
            <dgm:layoutNode name="childTx" styleLbl="bgAccFollowNode1">
              <dgm:varLst>
                <dgm:bulletEnabled val="1"/>
              </dgm:varLst>
              <dgm:alg type="tx">
                <dgm:param type="parTxLTRAlign" val="l"/>
              </dgm:alg>
              <dgm:shape xmlns:r="http://schemas.openxmlformats.org/officeDocument/2006/relationships" type="rect" r:blip="" hideGeom="1">
                <dgm:adjLst/>
              </dgm:shape>
              <dgm:presOf axis="desOrSelf" ptType="node"/>
              <dgm:choose name="Name14">
                <dgm:if name="Name15" func="var" arg="dir" op="equ" val="norm">
                  <dgm:constrLst>
                    <dgm:constr type="primFontSz" val="65"/>
                    <dgm:constr type="lMarg"/>
                  </dgm:constrLst>
                </dgm:if>
                <dgm:else name="Name16">
                  <dgm:constrLst>
                    <dgm:constr type="primFontSz" val="65"/>
                    <dgm:constr type="rMarg"/>
                  </dgm:constrLst>
                </dgm:else>
              </dgm:choose>
              <dgm:ruleLst>
                <dgm:rule type="primFontSz" val="5" fact="NaN" max="NaN"/>
              </dgm:ruleLst>
            </dgm:layoutNode>
          </dgm:layoutNode>
        </dgm:forEach>
      </dgm:layoutNode>
      <dgm:layoutNode name="neg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ircle" styleLbl="node1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lMarg"/>
          <dgm:constr type="rMarg"/>
          <dgm:constr type="tMarg"/>
          <dgm:constr type="bMarg"/>
          <dgm:constr type="h" refType="w"/>
        </dgm:constrLst>
        <dgm:ruleLst>
          <dgm:rule type="primFontSz" val="5" fact="NaN" max="NaN"/>
        </dgm:ruleLst>
      </dgm:layoutNode>
      <dgm:forEach name="Name17" axis="followSib" ptType="sibTrans" cnt="1">
        <dgm:layoutNode name="trans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F029FB2D-735F-4AA1-A4D4-053A092AA295}" type="datetimeFigureOut">
              <a:rPr lang="it-IT"/>
              <a:pPr>
                <a:defRPr/>
              </a:pPr>
              <a:t>16/06/2016</a:t>
            </a:fld>
            <a:endParaRPr lang="sq-AL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it-IT" noProof="0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noProof="0" smtClean="0"/>
              <a:t>Fare clic per modificare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  <a:endParaRPr lang="it-IT" noProof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C95910AB-E680-43D2-9B04-1DF41C0CFDB2}" type="slidenum">
              <a:rPr lang="it-IT"/>
              <a:pPr>
                <a:defRPr/>
              </a:pPr>
              <a:t>‹#›</a:t>
            </a:fld>
            <a:endParaRPr lang="sq-AL"/>
          </a:p>
        </p:txBody>
      </p:sp>
    </p:spTree>
    <p:extLst>
      <p:ext uri="{BB962C8B-B14F-4D97-AF65-F5344CB8AC3E}">
        <p14:creationId xmlns:p14="http://schemas.microsoft.com/office/powerpoint/2010/main" val="322093339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95910AB-E680-43D2-9B04-1DF41C0CFDB2}" type="slidenum">
              <a:rPr lang="it-IT" smtClean="0"/>
              <a:pPr>
                <a:defRPr/>
              </a:pPr>
              <a:t>14</a:t>
            </a:fld>
            <a:endParaRPr lang="sq-AL"/>
          </a:p>
        </p:txBody>
      </p:sp>
    </p:spTree>
    <p:extLst>
      <p:ext uri="{BB962C8B-B14F-4D97-AF65-F5344CB8AC3E}">
        <p14:creationId xmlns:p14="http://schemas.microsoft.com/office/powerpoint/2010/main" val="355791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5796136" y="2132856"/>
            <a:ext cx="3019872" cy="1440160"/>
          </a:xfrm>
        </p:spPr>
        <p:txBody>
          <a:bodyPr anchor="t" anchorCtr="0"/>
          <a:lstStyle>
            <a:lvl1pPr algn="l">
              <a:defRPr sz="2800">
                <a:solidFill>
                  <a:srgbClr val="FF5050"/>
                </a:solidFill>
                <a:effectLst/>
              </a:defRPr>
            </a:lvl1pPr>
          </a:lstStyle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5796136" y="3933056"/>
            <a:ext cx="2840360" cy="1752600"/>
          </a:xfrm>
        </p:spPr>
        <p:txBody>
          <a:bodyPr>
            <a:normAutofit/>
          </a:bodyPr>
          <a:lstStyle>
            <a:lvl1pPr marL="0" indent="0" algn="l">
              <a:buNone/>
              <a:defRPr sz="2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numero diapositiva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B6434B-49FF-4C2B-AA15-54452B49F1E9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apositiva titolo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3568" y="1340768"/>
            <a:ext cx="7772400" cy="1470025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numero diapositiva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2DAA16-A67C-4F67-AC8D-FC16D0A7468D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A432B84-DC1E-4AA8-B8B0-D9C15164C24D}" type="datetime1">
              <a:rPr lang="it-IT"/>
              <a:pPr>
                <a:defRPr/>
              </a:pPr>
              <a:t>16/06/2016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42D9F6-4E0E-41D8-BC1F-BF1CE87366CF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196752"/>
            <a:ext cx="4038600" cy="4929411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196752"/>
            <a:ext cx="4038600" cy="4929411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numero diapositiva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8BFDE2-B67A-4EC0-945D-C364EF001C2F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numero diapositiva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502781-F299-4122-9748-0155205CA53E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07E9B06-B4CE-4BCB-B473-7C33141A326C}" type="datetime1">
              <a:rPr lang="it-IT"/>
              <a:pPr>
                <a:defRPr/>
              </a:pPr>
              <a:t>16/06/2016</a:t>
            </a:fld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A6741F-473A-4EFB-B132-0C714658AC40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422275"/>
            <a:ext cx="8229600" cy="5762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it-IT" dirty="0" smtClean="0"/>
              <a:t>Fare clic per modificare lo stile del titolo</a:t>
            </a:r>
            <a:endParaRPr lang="it-IT" dirty="0"/>
          </a:p>
        </p:txBody>
      </p:sp>
      <p:sp>
        <p:nvSpPr>
          <p:cNvPr id="1027" name="Segnaposto testo 2"/>
          <p:cNvSpPr>
            <a:spLocks noGrp="1"/>
          </p:cNvSpPr>
          <p:nvPr>
            <p:ph type="body" idx="1"/>
          </p:nvPr>
        </p:nvSpPr>
        <p:spPr bwMode="auto">
          <a:xfrm>
            <a:off x="457200" y="1196975"/>
            <a:ext cx="8229600" cy="4929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532813" y="6597650"/>
            <a:ext cx="585787" cy="2682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B702304-4039-4C5E-AEB9-126438CC36B5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2800" b="1" kern="1200">
          <a:solidFill>
            <a:srgbClr val="7F7F7F"/>
          </a:solidFill>
          <a:effectLst>
            <a:innerShdw blurRad="63500" dist="50800" dir="16200000">
              <a:prstClr val="black">
                <a:alpha val="50000"/>
              </a:prstClr>
            </a:innerShdw>
          </a:effectLst>
          <a:latin typeface="+mn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2800" b="1">
          <a:solidFill>
            <a:srgbClr val="7F7F7F"/>
          </a:solidFill>
          <a:latin typeface="TitilliumText14L"/>
        </a:defRPr>
      </a:lvl2pPr>
      <a:lvl3pPr algn="ctr" rtl="0" fontAlgn="base">
        <a:spcBef>
          <a:spcPct val="0"/>
        </a:spcBef>
        <a:spcAft>
          <a:spcPct val="0"/>
        </a:spcAft>
        <a:defRPr sz="2800" b="1">
          <a:solidFill>
            <a:srgbClr val="7F7F7F"/>
          </a:solidFill>
          <a:latin typeface="TitilliumText14L"/>
        </a:defRPr>
      </a:lvl3pPr>
      <a:lvl4pPr algn="ctr" rtl="0" fontAlgn="base">
        <a:spcBef>
          <a:spcPct val="0"/>
        </a:spcBef>
        <a:spcAft>
          <a:spcPct val="0"/>
        </a:spcAft>
        <a:defRPr sz="2800" b="1">
          <a:solidFill>
            <a:srgbClr val="7F7F7F"/>
          </a:solidFill>
          <a:latin typeface="TitilliumText14L"/>
        </a:defRPr>
      </a:lvl4pPr>
      <a:lvl5pPr algn="ctr" rtl="0" fontAlgn="base">
        <a:spcBef>
          <a:spcPct val="0"/>
        </a:spcBef>
        <a:spcAft>
          <a:spcPct val="0"/>
        </a:spcAft>
        <a:defRPr sz="2800" b="1">
          <a:solidFill>
            <a:srgbClr val="7F7F7F"/>
          </a:solidFill>
          <a:latin typeface="TitilliumText14L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rgbClr val="7F7F7F"/>
          </a:solidFill>
          <a:latin typeface="TitilliumText14L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rgbClr val="7F7F7F"/>
          </a:solidFill>
          <a:latin typeface="TitilliumText14L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rgbClr val="7F7F7F"/>
          </a:solidFill>
          <a:latin typeface="TitilliumText14L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rgbClr val="7F7F7F"/>
          </a:solidFill>
          <a:latin typeface="TitilliumText14L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E46C0A"/>
        </a:buClr>
        <a:buFont typeface="Arial" charset="0"/>
        <a:buChar char="•"/>
        <a:defRPr sz="2400" b="1" kern="1200">
          <a:solidFill>
            <a:srgbClr val="17375E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E46C0A"/>
        </a:buClr>
        <a:buFont typeface="Arial" charset="0"/>
        <a:buChar char="–"/>
        <a:defRPr sz="2000" b="1" kern="1200">
          <a:solidFill>
            <a:srgbClr val="17375E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E46C0A"/>
        </a:buClr>
        <a:buFont typeface="Arial" charset="0"/>
        <a:buChar char="•"/>
        <a:defRPr b="1" kern="1200">
          <a:solidFill>
            <a:srgbClr val="17375E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E46C0A"/>
        </a:buClr>
        <a:buFont typeface="Arial" charset="0"/>
        <a:buChar char="–"/>
        <a:defRPr sz="1600" b="1" kern="1200">
          <a:solidFill>
            <a:srgbClr val="17375E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E46C0A"/>
        </a:buClr>
        <a:buFont typeface="Arial" charset="0"/>
        <a:buChar char="»"/>
        <a:defRPr sz="1600" b="1" kern="1200">
          <a:solidFill>
            <a:srgbClr val="17375E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tags" Target="../tags/tag38.xml"/><Relationship Id="rId39" Type="http://schemas.openxmlformats.org/officeDocument/2006/relationships/tags" Target="../tags/tag51.xml"/><Relationship Id="rId21" Type="http://schemas.openxmlformats.org/officeDocument/2006/relationships/tags" Target="../tags/tag33.xml"/><Relationship Id="rId34" Type="http://schemas.openxmlformats.org/officeDocument/2006/relationships/tags" Target="../tags/tag46.xml"/><Relationship Id="rId42" Type="http://schemas.openxmlformats.org/officeDocument/2006/relationships/tags" Target="../tags/tag54.xml"/><Relationship Id="rId47" Type="http://schemas.openxmlformats.org/officeDocument/2006/relationships/tags" Target="../tags/tag59.xml"/><Relationship Id="rId50" Type="http://schemas.openxmlformats.org/officeDocument/2006/relationships/tags" Target="../tags/tag62.xml"/><Relationship Id="rId55" Type="http://schemas.openxmlformats.org/officeDocument/2006/relationships/tags" Target="../tags/tag67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6" Type="http://schemas.openxmlformats.org/officeDocument/2006/relationships/tags" Target="../tags/tag28.xml"/><Relationship Id="rId29" Type="http://schemas.openxmlformats.org/officeDocument/2006/relationships/tags" Target="../tags/tag41.xml"/><Relationship Id="rId11" Type="http://schemas.openxmlformats.org/officeDocument/2006/relationships/tags" Target="../tags/tag23.xml"/><Relationship Id="rId24" Type="http://schemas.openxmlformats.org/officeDocument/2006/relationships/tags" Target="../tags/tag36.xml"/><Relationship Id="rId32" Type="http://schemas.openxmlformats.org/officeDocument/2006/relationships/tags" Target="../tags/tag44.xml"/><Relationship Id="rId37" Type="http://schemas.openxmlformats.org/officeDocument/2006/relationships/tags" Target="../tags/tag49.xml"/><Relationship Id="rId40" Type="http://schemas.openxmlformats.org/officeDocument/2006/relationships/tags" Target="../tags/tag52.xml"/><Relationship Id="rId45" Type="http://schemas.openxmlformats.org/officeDocument/2006/relationships/tags" Target="../tags/tag57.xml"/><Relationship Id="rId53" Type="http://schemas.openxmlformats.org/officeDocument/2006/relationships/tags" Target="../tags/tag65.xml"/><Relationship Id="rId58" Type="http://schemas.openxmlformats.org/officeDocument/2006/relationships/oleObject" Target="../embeddings/oleObject1.bin"/><Relationship Id="rId5" Type="http://schemas.openxmlformats.org/officeDocument/2006/relationships/tags" Target="../tags/tag17.xml"/><Relationship Id="rId19" Type="http://schemas.openxmlformats.org/officeDocument/2006/relationships/tags" Target="../tags/tag31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tags" Target="../tags/tag39.xml"/><Relationship Id="rId30" Type="http://schemas.openxmlformats.org/officeDocument/2006/relationships/tags" Target="../tags/tag42.xml"/><Relationship Id="rId35" Type="http://schemas.openxmlformats.org/officeDocument/2006/relationships/tags" Target="../tags/tag47.xml"/><Relationship Id="rId43" Type="http://schemas.openxmlformats.org/officeDocument/2006/relationships/tags" Target="../tags/tag55.xml"/><Relationship Id="rId48" Type="http://schemas.openxmlformats.org/officeDocument/2006/relationships/tags" Target="../tags/tag60.xml"/><Relationship Id="rId56" Type="http://schemas.openxmlformats.org/officeDocument/2006/relationships/tags" Target="../tags/tag68.xml"/><Relationship Id="rId8" Type="http://schemas.openxmlformats.org/officeDocument/2006/relationships/tags" Target="../tags/tag20.xml"/><Relationship Id="rId51" Type="http://schemas.openxmlformats.org/officeDocument/2006/relationships/tags" Target="../tags/tag63.xml"/><Relationship Id="rId3" Type="http://schemas.openxmlformats.org/officeDocument/2006/relationships/tags" Target="../tags/tag15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tags" Target="../tags/tag37.xml"/><Relationship Id="rId33" Type="http://schemas.openxmlformats.org/officeDocument/2006/relationships/tags" Target="../tags/tag45.xml"/><Relationship Id="rId38" Type="http://schemas.openxmlformats.org/officeDocument/2006/relationships/tags" Target="../tags/tag50.xml"/><Relationship Id="rId46" Type="http://schemas.openxmlformats.org/officeDocument/2006/relationships/tags" Target="../tags/tag58.xml"/><Relationship Id="rId59" Type="http://schemas.openxmlformats.org/officeDocument/2006/relationships/image" Target="../media/image9.emf"/><Relationship Id="rId20" Type="http://schemas.openxmlformats.org/officeDocument/2006/relationships/tags" Target="../tags/tag32.xml"/><Relationship Id="rId41" Type="http://schemas.openxmlformats.org/officeDocument/2006/relationships/tags" Target="../tags/tag53.xml"/><Relationship Id="rId54" Type="http://schemas.openxmlformats.org/officeDocument/2006/relationships/tags" Target="../tags/tag66.xml"/><Relationship Id="rId1" Type="http://schemas.openxmlformats.org/officeDocument/2006/relationships/vmlDrawing" Target="../drawings/vmlDrawing1.vml"/><Relationship Id="rId6" Type="http://schemas.openxmlformats.org/officeDocument/2006/relationships/tags" Target="../tags/tag18.xml"/><Relationship Id="rId15" Type="http://schemas.openxmlformats.org/officeDocument/2006/relationships/tags" Target="../tags/tag27.xml"/><Relationship Id="rId23" Type="http://schemas.openxmlformats.org/officeDocument/2006/relationships/tags" Target="../tags/tag35.xml"/><Relationship Id="rId28" Type="http://schemas.openxmlformats.org/officeDocument/2006/relationships/tags" Target="../tags/tag40.xml"/><Relationship Id="rId36" Type="http://schemas.openxmlformats.org/officeDocument/2006/relationships/tags" Target="../tags/tag48.xml"/><Relationship Id="rId49" Type="http://schemas.openxmlformats.org/officeDocument/2006/relationships/tags" Target="../tags/tag61.xml"/><Relationship Id="rId57" Type="http://schemas.openxmlformats.org/officeDocument/2006/relationships/slideLayout" Target="../slideLayouts/slideLayout5.xml"/><Relationship Id="rId10" Type="http://schemas.openxmlformats.org/officeDocument/2006/relationships/tags" Target="../tags/tag22.xml"/><Relationship Id="rId31" Type="http://schemas.openxmlformats.org/officeDocument/2006/relationships/tags" Target="../tags/tag43.xml"/><Relationship Id="rId44" Type="http://schemas.openxmlformats.org/officeDocument/2006/relationships/tags" Target="../tags/tag56.xml"/><Relationship Id="rId52" Type="http://schemas.openxmlformats.org/officeDocument/2006/relationships/tags" Target="../tags/tag6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5" Type="http://schemas.openxmlformats.org/officeDocument/2006/relationships/diagramQuickStyle" Target="../diagrams/quickStyle2.xml"/><Relationship Id="rId10" Type="http://schemas.openxmlformats.org/officeDocument/2006/relationships/diagramQuickStyle" Target="../diagrams/quickStyle3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hyperlink" Target="http://tfig.unece.org/contents/customs-brokers.htm" TargetMode="External"/><Relationship Id="rId18" Type="http://schemas.openxmlformats.org/officeDocument/2006/relationships/hyperlink" Target="http://tfig.unece.org/contents/single-window-for-trade.htm" TargetMode="External"/><Relationship Id="rId3" Type="http://schemas.openxmlformats.org/officeDocument/2006/relationships/tags" Target="../tags/tag70.xml"/><Relationship Id="rId21" Type="http://schemas.openxmlformats.org/officeDocument/2006/relationships/hyperlink" Target="http://tfig.unece.org/contents/de-minimis.htm" TargetMode="External"/><Relationship Id="rId7" Type="http://schemas.openxmlformats.org/officeDocument/2006/relationships/slideLayout" Target="../slideLayouts/slideLayout3.xml"/><Relationship Id="rId12" Type="http://schemas.openxmlformats.org/officeDocument/2006/relationships/hyperlink" Target="http://tfig.unece.org/contents/formal-trade-consultation.htm" TargetMode="External"/><Relationship Id="rId17" Type="http://schemas.openxmlformats.org/officeDocument/2006/relationships/hyperlink" Target="http://tfig.unece.org/contents/customs-automation.htm" TargetMode="External"/><Relationship Id="rId2" Type="http://schemas.openxmlformats.org/officeDocument/2006/relationships/tags" Target="../tags/tag69.xml"/><Relationship Id="rId16" Type="http://schemas.openxmlformats.org/officeDocument/2006/relationships/hyperlink" Target="http://tfig.unece.org/contents/customs-risk-management.htm" TargetMode="External"/><Relationship Id="rId20" Type="http://schemas.openxmlformats.org/officeDocument/2006/relationships/hyperlink" Target="http://tfig.unece.org/contents/post-clearance-audit.htm" TargetMode="External"/><Relationship Id="rId1" Type="http://schemas.openxmlformats.org/officeDocument/2006/relationships/vmlDrawing" Target="../drawings/vmlDrawing2.vml"/><Relationship Id="rId6" Type="http://schemas.openxmlformats.org/officeDocument/2006/relationships/tags" Target="../tags/tag73.xml"/><Relationship Id="rId11" Type="http://schemas.openxmlformats.org/officeDocument/2006/relationships/hyperlink" Target="http://tfig.unece.org/contents/publication.htm" TargetMode="External"/><Relationship Id="rId5" Type="http://schemas.openxmlformats.org/officeDocument/2006/relationships/tags" Target="../tags/tag72.xml"/><Relationship Id="rId15" Type="http://schemas.openxmlformats.org/officeDocument/2006/relationships/hyperlink" Target="http://tfig.unece.org/contents/integrity.htm" TargetMode="External"/><Relationship Id="rId23" Type="http://schemas.openxmlformats.org/officeDocument/2006/relationships/image" Target="../media/image10.png"/><Relationship Id="rId10" Type="http://schemas.openxmlformats.org/officeDocument/2006/relationships/hyperlink" Target="http://tfig.unece.org/contents/customs-terminology-trade-definitions.htm" TargetMode="External"/><Relationship Id="rId19" Type="http://schemas.openxmlformats.org/officeDocument/2006/relationships/hyperlink" Target="http://tfig.unece.org/contents/authorized-traders.htm" TargetMode="External"/><Relationship Id="rId4" Type="http://schemas.openxmlformats.org/officeDocument/2006/relationships/tags" Target="../tags/tag71.xml"/><Relationship Id="rId9" Type="http://schemas.openxmlformats.org/officeDocument/2006/relationships/image" Target="../media/image9.emf"/><Relationship Id="rId14" Type="http://schemas.openxmlformats.org/officeDocument/2006/relationships/hyperlink" Target="http://tfig.unece.org/contents/appeals.htm" TargetMode="External"/><Relationship Id="rId22" Type="http://schemas.openxmlformats.org/officeDocument/2006/relationships/hyperlink" Target="http://tfig.unece.org/contents/opening-hours.htm" TargetMode="External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85.xml"/><Relationship Id="rId18" Type="http://schemas.openxmlformats.org/officeDocument/2006/relationships/tags" Target="../tags/tag90.xml"/><Relationship Id="rId26" Type="http://schemas.openxmlformats.org/officeDocument/2006/relationships/tags" Target="../tags/tag98.xml"/><Relationship Id="rId39" Type="http://schemas.openxmlformats.org/officeDocument/2006/relationships/tags" Target="../tags/tag111.xml"/><Relationship Id="rId21" Type="http://schemas.openxmlformats.org/officeDocument/2006/relationships/tags" Target="../tags/tag93.xml"/><Relationship Id="rId34" Type="http://schemas.openxmlformats.org/officeDocument/2006/relationships/tags" Target="../tags/tag106.xml"/><Relationship Id="rId42" Type="http://schemas.openxmlformats.org/officeDocument/2006/relationships/tags" Target="../tags/tag114.xml"/><Relationship Id="rId47" Type="http://schemas.openxmlformats.org/officeDocument/2006/relationships/tags" Target="../tags/tag119.xml"/><Relationship Id="rId50" Type="http://schemas.openxmlformats.org/officeDocument/2006/relationships/oleObject" Target="../embeddings/oleObject3.bin"/><Relationship Id="rId55" Type="http://schemas.openxmlformats.org/officeDocument/2006/relationships/hyperlink" Target="http://www.iccwbo.org/Advocacy-Codes-and-Rules/Document-centre/2012/ICC-Customs-Guidelines-(revised-version-June-2012)/" TargetMode="External"/><Relationship Id="rId7" Type="http://schemas.openxmlformats.org/officeDocument/2006/relationships/tags" Target="../tags/tag79.xml"/><Relationship Id="rId2" Type="http://schemas.openxmlformats.org/officeDocument/2006/relationships/tags" Target="../tags/tag74.xml"/><Relationship Id="rId16" Type="http://schemas.openxmlformats.org/officeDocument/2006/relationships/tags" Target="../tags/tag88.xml"/><Relationship Id="rId29" Type="http://schemas.openxmlformats.org/officeDocument/2006/relationships/tags" Target="../tags/tag101.xml"/><Relationship Id="rId11" Type="http://schemas.openxmlformats.org/officeDocument/2006/relationships/tags" Target="../tags/tag83.xml"/><Relationship Id="rId24" Type="http://schemas.openxmlformats.org/officeDocument/2006/relationships/tags" Target="../tags/tag96.xml"/><Relationship Id="rId32" Type="http://schemas.openxmlformats.org/officeDocument/2006/relationships/tags" Target="../tags/tag104.xml"/><Relationship Id="rId37" Type="http://schemas.openxmlformats.org/officeDocument/2006/relationships/tags" Target="../tags/tag109.xml"/><Relationship Id="rId40" Type="http://schemas.openxmlformats.org/officeDocument/2006/relationships/tags" Target="../tags/tag112.xml"/><Relationship Id="rId45" Type="http://schemas.openxmlformats.org/officeDocument/2006/relationships/tags" Target="../tags/tag117.xml"/><Relationship Id="rId53" Type="http://schemas.openxmlformats.org/officeDocument/2006/relationships/image" Target="../media/image11.emf"/><Relationship Id="rId5" Type="http://schemas.openxmlformats.org/officeDocument/2006/relationships/tags" Target="../tags/tag77.xml"/><Relationship Id="rId10" Type="http://schemas.openxmlformats.org/officeDocument/2006/relationships/tags" Target="../tags/tag82.xml"/><Relationship Id="rId19" Type="http://schemas.openxmlformats.org/officeDocument/2006/relationships/tags" Target="../tags/tag91.xml"/><Relationship Id="rId31" Type="http://schemas.openxmlformats.org/officeDocument/2006/relationships/tags" Target="../tags/tag103.xml"/><Relationship Id="rId44" Type="http://schemas.openxmlformats.org/officeDocument/2006/relationships/tags" Target="../tags/tag116.xml"/><Relationship Id="rId52" Type="http://schemas.openxmlformats.org/officeDocument/2006/relationships/oleObject" Target="../embeddings/oleObject4.bin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Relationship Id="rId22" Type="http://schemas.openxmlformats.org/officeDocument/2006/relationships/tags" Target="../tags/tag94.xml"/><Relationship Id="rId27" Type="http://schemas.openxmlformats.org/officeDocument/2006/relationships/tags" Target="../tags/tag99.xml"/><Relationship Id="rId30" Type="http://schemas.openxmlformats.org/officeDocument/2006/relationships/tags" Target="../tags/tag102.xml"/><Relationship Id="rId35" Type="http://schemas.openxmlformats.org/officeDocument/2006/relationships/tags" Target="../tags/tag107.xml"/><Relationship Id="rId43" Type="http://schemas.openxmlformats.org/officeDocument/2006/relationships/tags" Target="../tags/tag115.xml"/><Relationship Id="rId48" Type="http://schemas.openxmlformats.org/officeDocument/2006/relationships/tags" Target="../tags/tag120.xml"/><Relationship Id="rId8" Type="http://schemas.openxmlformats.org/officeDocument/2006/relationships/tags" Target="../tags/tag80.xml"/><Relationship Id="rId51" Type="http://schemas.openxmlformats.org/officeDocument/2006/relationships/image" Target="../media/image9.emf"/><Relationship Id="rId3" Type="http://schemas.openxmlformats.org/officeDocument/2006/relationships/tags" Target="../tags/tag75.xml"/><Relationship Id="rId12" Type="http://schemas.openxmlformats.org/officeDocument/2006/relationships/tags" Target="../tags/tag84.xml"/><Relationship Id="rId17" Type="http://schemas.openxmlformats.org/officeDocument/2006/relationships/tags" Target="../tags/tag89.xml"/><Relationship Id="rId25" Type="http://schemas.openxmlformats.org/officeDocument/2006/relationships/tags" Target="../tags/tag97.xml"/><Relationship Id="rId33" Type="http://schemas.openxmlformats.org/officeDocument/2006/relationships/tags" Target="../tags/tag105.xml"/><Relationship Id="rId38" Type="http://schemas.openxmlformats.org/officeDocument/2006/relationships/tags" Target="../tags/tag110.xml"/><Relationship Id="rId46" Type="http://schemas.openxmlformats.org/officeDocument/2006/relationships/tags" Target="../tags/tag118.xml"/><Relationship Id="rId20" Type="http://schemas.openxmlformats.org/officeDocument/2006/relationships/tags" Target="../tags/tag92.xml"/><Relationship Id="rId41" Type="http://schemas.openxmlformats.org/officeDocument/2006/relationships/tags" Target="../tags/tag113.xml"/><Relationship Id="rId54" Type="http://schemas.openxmlformats.org/officeDocument/2006/relationships/hyperlink" Target="http://www.wcoomd.org/en/topics/facilitation/instrument-and-tools/~/link.aspx?_id=165278A87DAB4E4C8336C5DD69D17E19&amp;_z=z" TargetMode="External"/><Relationship Id="rId1" Type="http://schemas.openxmlformats.org/officeDocument/2006/relationships/vmlDrawing" Target="../drawings/vmlDrawing3.vml"/><Relationship Id="rId6" Type="http://schemas.openxmlformats.org/officeDocument/2006/relationships/tags" Target="../tags/tag78.xml"/><Relationship Id="rId15" Type="http://schemas.openxmlformats.org/officeDocument/2006/relationships/tags" Target="../tags/tag87.xml"/><Relationship Id="rId23" Type="http://schemas.openxmlformats.org/officeDocument/2006/relationships/tags" Target="../tags/tag95.xml"/><Relationship Id="rId28" Type="http://schemas.openxmlformats.org/officeDocument/2006/relationships/tags" Target="../tags/tag100.xml"/><Relationship Id="rId36" Type="http://schemas.openxmlformats.org/officeDocument/2006/relationships/tags" Target="../tags/tag108.xml"/><Relationship Id="rId49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132.xml"/><Relationship Id="rId18" Type="http://schemas.openxmlformats.org/officeDocument/2006/relationships/tags" Target="../tags/tag137.xml"/><Relationship Id="rId26" Type="http://schemas.openxmlformats.org/officeDocument/2006/relationships/tags" Target="../tags/tag145.xml"/><Relationship Id="rId39" Type="http://schemas.openxmlformats.org/officeDocument/2006/relationships/slideLayout" Target="../slideLayouts/slideLayout5.xml"/><Relationship Id="rId21" Type="http://schemas.openxmlformats.org/officeDocument/2006/relationships/tags" Target="../tags/tag140.xml"/><Relationship Id="rId34" Type="http://schemas.openxmlformats.org/officeDocument/2006/relationships/tags" Target="../tags/tag153.xml"/><Relationship Id="rId42" Type="http://schemas.openxmlformats.org/officeDocument/2006/relationships/hyperlink" Target="http://tfig.unece.org/contents/declaration.htm" TargetMode="External"/><Relationship Id="rId47" Type="http://schemas.openxmlformats.org/officeDocument/2006/relationships/hyperlink" Target="http://tfig.unece.org/contents/coordinated-intervention.htm" TargetMode="External"/><Relationship Id="rId50" Type="http://schemas.openxmlformats.org/officeDocument/2006/relationships/hyperlink" Target="http://tfig.unece.org/contents/release-time.htm" TargetMode="External"/><Relationship Id="rId7" Type="http://schemas.openxmlformats.org/officeDocument/2006/relationships/tags" Target="../tags/tag126.xml"/><Relationship Id="rId2" Type="http://schemas.openxmlformats.org/officeDocument/2006/relationships/tags" Target="../tags/tag121.xml"/><Relationship Id="rId16" Type="http://schemas.openxmlformats.org/officeDocument/2006/relationships/tags" Target="../tags/tag135.xml"/><Relationship Id="rId29" Type="http://schemas.openxmlformats.org/officeDocument/2006/relationships/tags" Target="../tags/tag148.xml"/><Relationship Id="rId11" Type="http://schemas.openxmlformats.org/officeDocument/2006/relationships/tags" Target="../tags/tag130.xml"/><Relationship Id="rId24" Type="http://schemas.openxmlformats.org/officeDocument/2006/relationships/tags" Target="../tags/tag143.xml"/><Relationship Id="rId32" Type="http://schemas.openxmlformats.org/officeDocument/2006/relationships/tags" Target="../tags/tag151.xml"/><Relationship Id="rId37" Type="http://schemas.openxmlformats.org/officeDocument/2006/relationships/tags" Target="../tags/tag156.xml"/><Relationship Id="rId40" Type="http://schemas.openxmlformats.org/officeDocument/2006/relationships/oleObject" Target="../embeddings/oleObject5.bin"/><Relationship Id="rId45" Type="http://schemas.openxmlformats.org/officeDocument/2006/relationships/hyperlink" Target="http://tfig.unece.org/contents/customs-risk-management.htm" TargetMode="External"/><Relationship Id="rId5" Type="http://schemas.openxmlformats.org/officeDocument/2006/relationships/tags" Target="../tags/tag124.xml"/><Relationship Id="rId15" Type="http://schemas.openxmlformats.org/officeDocument/2006/relationships/tags" Target="../tags/tag134.xml"/><Relationship Id="rId23" Type="http://schemas.openxmlformats.org/officeDocument/2006/relationships/tags" Target="../tags/tag142.xml"/><Relationship Id="rId28" Type="http://schemas.openxmlformats.org/officeDocument/2006/relationships/tags" Target="../tags/tag147.xml"/><Relationship Id="rId36" Type="http://schemas.openxmlformats.org/officeDocument/2006/relationships/tags" Target="../tags/tag155.xml"/><Relationship Id="rId49" Type="http://schemas.openxmlformats.org/officeDocument/2006/relationships/hyperlink" Target="http://tfig.unece.org/contents/electronic-payment-customs-duties-and-taxes.htm" TargetMode="External"/><Relationship Id="rId10" Type="http://schemas.openxmlformats.org/officeDocument/2006/relationships/tags" Target="../tags/tag129.xml"/><Relationship Id="rId19" Type="http://schemas.openxmlformats.org/officeDocument/2006/relationships/tags" Target="../tags/tag138.xml"/><Relationship Id="rId31" Type="http://schemas.openxmlformats.org/officeDocument/2006/relationships/tags" Target="../tags/tag150.xml"/><Relationship Id="rId44" Type="http://schemas.openxmlformats.org/officeDocument/2006/relationships/hyperlink" Target="http://tfig.unece.org/contents/advance-ruling.htm" TargetMode="External"/><Relationship Id="rId52" Type="http://schemas.openxmlformats.org/officeDocument/2006/relationships/hyperlink" Target="http://tfig.unece.org/contents/guarantee-and-security.htm" TargetMode="External"/><Relationship Id="rId4" Type="http://schemas.openxmlformats.org/officeDocument/2006/relationships/tags" Target="../tags/tag123.xml"/><Relationship Id="rId9" Type="http://schemas.openxmlformats.org/officeDocument/2006/relationships/tags" Target="../tags/tag128.xml"/><Relationship Id="rId14" Type="http://schemas.openxmlformats.org/officeDocument/2006/relationships/tags" Target="../tags/tag133.xml"/><Relationship Id="rId22" Type="http://schemas.openxmlformats.org/officeDocument/2006/relationships/tags" Target="../tags/tag141.xml"/><Relationship Id="rId27" Type="http://schemas.openxmlformats.org/officeDocument/2006/relationships/tags" Target="../tags/tag146.xml"/><Relationship Id="rId30" Type="http://schemas.openxmlformats.org/officeDocument/2006/relationships/tags" Target="../tags/tag149.xml"/><Relationship Id="rId35" Type="http://schemas.openxmlformats.org/officeDocument/2006/relationships/tags" Target="../tags/tag154.xml"/><Relationship Id="rId43" Type="http://schemas.openxmlformats.org/officeDocument/2006/relationships/hyperlink" Target="http://tfig.unece.org/contents/supporting-documents.htm" TargetMode="External"/><Relationship Id="rId48" Type="http://schemas.openxmlformats.org/officeDocument/2006/relationships/hyperlink" Target="http://tfig.unece.org/contents/deferred-payment.htm" TargetMode="External"/><Relationship Id="rId8" Type="http://schemas.openxmlformats.org/officeDocument/2006/relationships/tags" Target="../tags/tag127.xml"/><Relationship Id="rId51" Type="http://schemas.openxmlformats.org/officeDocument/2006/relationships/hyperlink" Target="http://tfig.unece.org/contents/prearrival-processing.htm" TargetMode="External"/><Relationship Id="rId3" Type="http://schemas.openxmlformats.org/officeDocument/2006/relationships/tags" Target="../tags/tag122.xml"/><Relationship Id="rId12" Type="http://schemas.openxmlformats.org/officeDocument/2006/relationships/tags" Target="../tags/tag131.xml"/><Relationship Id="rId17" Type="http://schemas.openxmlformats.org/officeDocument/2006/relationships/tags" Target="../tags/tag136.xml"/><Relationship Id="rId25" Type="http://schemas.openxmlformats.org/officeDocument/2006/relationships/tags" Target="../tags/tag144.xml"/><Relationship Id="rId33" Type="http://schemas.openxmlformats.org/officeDocument/2006/relationships/tags" Target="../tags/tag152.xml"/><Relationship Id="rId38" Type="http://schemas.openxmlformats.org/officeDocument/2006/relationships/tags" Target="../tags/tag157.xml"/><Relationship Id="rId46" Type="http://schemas.openxmlformats.org/officeDocument/2006/relationships/hyperlink" Target="http://tfig.unece.org/contents/NII-technology.htm" TargetMode="External"/><Relationship Id="rId20" Type="http://schemas.openxmlformats.org/officeDocument/2006/relationships/tags" Target="../tags/tag139.xml"/><Relationship Id="rId41" Type="http://schemas.openxmlformats.org/officeDocument/2006/relationships/image" Target="../media/image9.emf"/><Relationship Id="rId1" Type="http://schemas.openxmlformats.org/officeDocument/2006/relationships/vmlDrawing" Target="../drawings/vmlDrawing4.vml"/><Relationship Id="rId6" Type="http://schemas.openxmlformats.org/officeDocument/2006/relationships/tags" Target="../tags/tag125.xml"/></Relationships>
</file>

<file path=ppt/slides/_rels/slide18.xml.rels><?xml version="1.0" encoding="UTF-8" standalone="yes"?>
<Relationships xmlns="http://schemas.openxmlformats.org/package/2006/relationships"><Relationship Id="rId26" Type="http://schemas.openxmlformats.org/officeDocument/2006/relationships/tags" Target="../tags/tag182.xml"/><Relationship Id="rId117" Type="http://schemas.openxmlformats.org/officeDocument/2006/relationships/oleObject" Target="../embeddings/oleObject8.bin"/><Relationship Id="rId21" Type="http://schemas.openxmlformats.org/officeDocument/2006/relationships/tags" Target="../tags/tag177.xml"/><Relationship Id="rId42" Type="http://schemas.openxmlformats.org/officeDocument/2006/relationships/tags" Target="../tags/tag198.xml"/><Relationship Id="rId47" Type="http://schemas.openxmlformats.org/officeDocument/2006/relationships/tags" Target="../tags/tag203.xml"/><Relationship Id="rId63" Type="http://schemas.openxmlformats.org/officeDocument/2006/relationships/tags" Target="../tags/tag219.xml"/><Relationship Id="rId68" Type="http://schemas.openxmlformats.org/officeDocument/2006/relationships/tags" Target="../tags/tag224.xml"/><Relationship Id="rId84" Type="http://schemas.openxmlformats.org/officeDocument/2006/relationships/tags" Target="../tags/tag240.xml"/><Relationship Id="rId89" Type="http://schemas.openxmlformats.org/officeDocument/2006/relationships/tags" Target="../tags/tag245.xml"/><Relationship Id="rId112" Type="http://schemas.openxmlformats.org/officeDocument/2006/relationships/hyperlink" Target="http://www.wcoomd.org/Kyoto_New/Content/content.html" TargetMode="External"/><Relationship Id="rId16" Type="http://schemas.openxmlformats.org/officeDocument/2006/relationships/tags" Target="../tags/tag172.xml"/><Relationship Id="rId107" Type="http://schemas.openxmlformats.org/officeDocument/2006/relationships/tags" Target="../tags/tag263.xml"/><Relationship Id="rId11" Type="http://schemas.openxmlformats.org/officeDocument/2006/relationships/tags" Target="../tags/tag167.xml"/><Relationship Id="rId32" Type="http://schemas.openxmlformats.org/officeDocument/2006/relationships/tags" Target="../tags/tag188.xml"/><Relationship Id="rId37" Type="http://schemas.openxmlformats.org/officeDocument/2006/relationships/tags" Target="../tags/tag193.xml"/><Relationship Id="rId53" Type="http://schemas.openxmlformats.org/officeDocument/2006/relationships/tags" Target="../tags/tag209.xml"/><Relationship Id="rId58" Type="http://schemas.openxmlformats.org/officeDocument/2006/relationships/tags" Target="../tags/tag214.xml"/><Relationship Id="rId74" Type="http://schemas.openxmlformats.org/officeDocument/2006/relationships/tags" Target="../tags/tag230.xml"/><Relationship Id="rId79" Type="http://schemas.openxmlformats.org/officeDocument/2006/relationships/tags" Target="../tags/tag235.xml"/><Relationship Id="rId102" Type="http://schemas.openxmlformats.org/officeDocument/2006/relationships/tags" Target="../tags/tag258.xml"/><Relationship Id="rId5" Type="http://schemas.openxmlformats.org/officeDocument/2006/relationships/tags" Target="../tags/tag161.xml"/><Relationship Id="rId90" Type="http://schemas.openxmlformats.org/officeDocument/2006/relationships/tags" Target="../tags/tag246.xml"/><Relationship Id="rId95" Type="http://schemas.openxmlformats.org/officeDocument/2006/relationships/tags" Target="../tags/tag251.xml"/><Relationship Id="rId22" Type="http://schemas.openxmlformats.org/officeDocument/2006/relationships/tags" Target="../tags/tag178.xml"/><Relationship Id="rId27" Type="http://schemas.openxmlformats.org/officeDocument/2006/relationships/tags" Target="../tags/tag183.xml"/><Relationship Id="rId43" Type="http://schemas.openxmlformats.org/officeDocument/2006/relationships/tags" Target="../tags/tag199.xml"/><Relationship Id="rId48" Type="http://schemas.openxmlformats.org/officeDocument/2006/relationships/tags" Target="../tags/tag204.xml"/><Relationship Id="rId64" Type="http://schemas.openxmlformats.org/officeDocument/2006/relationships/tags" Target="../tags/tag220.xml"/><Relationship Id="rId69" Type="http://schemas.openxmlformats.org/officeDocument/2006/relationships/tags" Target="../tags/tag225.xml"/><Relationship Id="rId113" Type="http://schemas.openxmlformats.org/officeDocument/2006/relationships/hyperlink" Target="http://www.wcoomd.org/files/1.%20Public%20files/PDFandDocuments/Procedures%20and%20Facilitation/Immediate_Release_Guidelines_ENG.pdf" TargetMode="External"/><Relationship Id="rId118" Type="http://schemas.openxmlformats.org/officeDocument/2006/relationships/image" Target="../media/image13.emf"/><Relationship Id="rId80" Type="http://schemas.openxmlformats.org/officeDocument/2006/relationships/tags" Target="../tags/tag236.xml"/><Relationship Id="rId85" Type="http://schemas.openxmlformats.org/officeDocument/2006/relationships/tags" Target="../tags/tag241.xml"/><Relationship Id="rId12" Type="http://schemas.openxmlformats.org/officeDocument/2006/relationships/tags" Target="../tags/tag168.xml"/><Relationship Id="rId17" Type="http://schemas.openxmlformats.org/officeDocument/2006/relationships/tags" Target="../tags/tag173.xml"/><Relationship Id="rId33" Type="http://schemas.openxmlformats.org/officeDocument/2006/relationships/tags" Target="../tags/tag189.xml"/><Relationship Id="rId38" Type="http://schemas.openxmlformats.org/officeDocument/2006/relationships/tags" Target="../tags/tag194.xml"/><Relationship Id="rId59" Type="http://schemas.openxmlformats.org/officeDocument/2006/relationships/tags" Target="../tags/tag215.xml"/><Relationship Id="rId103" Type="http://schemas.openxmlformats.org/officeDocument/2006/relationships/tags" Target="../tags/tag259.xml"/><Relationship Id="rId108" Type="http://schemas.openxmlformats.org/officeDocument/2006/relationships/tags" Target="../tags/tag264.xml"/><Relationship Id="rId54" Type="http://schemas.openxmlformats.org/officeDocument/2006/relationships/tags" Target="../tags/tag210.xml"/><Relationship Id="rId70" Type="http://schemas.openxmlformats.org/officeDocument/2006/relationships/tags" Target="../tags/tag226.xml"/><Relationship Id="rId75" Type="http://schemas.openxmlformats.org/officeDocument/2006/relationships/tags" Target="../tags/tag231.xml"/><Relationship Id="rId91" Type="http://schemas.openxmlformats.org/officeDocument/2006/relationships/tags" Target="../tags/tag247.xml"/><Relationship Id="rId96" Type="http://schemas.openxmlformats.org/officeDocument/2006/relationships/tags" Target="../tags/tag252.xml"/><Relationship Id="rId1" Type="http://schemas.openxmlformats.org/officeDocument/2006/relationships/vmlDrawing" Target="../drawings/vmlDrawing5.vml"/><Relationship Id="rId6" Type="http://schemas.openxmlformats.org/officeDocument/2006/relationships/tags" Target="../tags/tag162.xml"/><Relationship Id="rId23" Type="http://schemas.openxmlformats.org/officeDocument/2006/relationships/tags" Target="../tags/tag179.xml"/><Relationship Id="rId28" Type="http://schemas.openxmlformats.org/officeDocument/2006/relationships/tags" Target="../tags/tag184.xml"/><Relationship Id="rId49" Type="http://schemas.openxmlformats.org/officeDocument/2006/relationships/tags" Target="../tags/tag205.xml"/><Relationship Id="rId114" Type="http://schemas.openxmlformats.org/officeDocument/2006/relationships/hyperlink" Target="http://www.iccwbo.org/policy/customs/id1207/index.html" TargetMode="External"/><Relationship Id="rId10" Type="http://schemas.openxmlformats.org/officeDocument/2006/relationships/tags" Target="../tags/tag166.xml"/><Relationship Id="rId31" Type="http://schemas.openxmlformats.org/officeDocument/2006/relationships/tags" Target="../tags/tag187.xml"/><Relationship Id="rId44" Type="http://schemas.openxmlformats.org/officeDocument/2006/relationships/tags" Target="../tags/tag200.xml"/><Relationship Id="rId52" Type="http://schemas.openxmlformats.org/officeDocument/2006/relationships/tags" Target="../tags/tag208.xml"/><Relationship Id="rId60" Type="http://schemas.openxmlformats.org/officeDocument/2006/relationships/tags" Target="../tags/tag216.xml"/><Relationship Id="rId65" Type="http://schemas.openxmlformats.org/officeDocument/2006/relationships/tags" Target="../tags/tag221.xml"/><Relationship Id="rId73" Type="http://schemas.openxmlformats.org/officeDocument/2006/relationships/tags" Target="../tags/tag229.xml"/><Relationship Id="rId78" Type="http://schemas.openxmlformats.org/officeDocument/2006/relationships/tags" Target="../tags/tag234.xml"/><Relationship Id="rId81" Type="http://schemas.openxmlformats.org/officeDocument/2006/relationships/tags" Target="../tags/tag237.xml"/><Relationship Id="rId86" Type="http://schemas.openxmlformats.org/officeDocument/2006/relationships/tags" Target="../tags/tag242.xml"/><Relationship Id="rId94" Type="http://schemas.openxmlformats.org/officeDocument/2006/relationships/tags" Target="../tags/tag250.xml"/><Relationship Id="rId99" Type="http://schemas.openxmlformats.org/officeDocument/2006/relationships/tags" Target="../tags/tag255.xml"/><Relationship Id="rId101" Type="http://schemas.openxmlformats.org/officeDocument/2006/relationships/tags" Target="../tags/tag257.xml"/><Relationship Id="rId4" Type="http://schemas.openxmlformats.org/officeDocument/2006/relationships/tags" Target="../tags/tag160.xml"/><Relationship Id="rId9" Type="http://schemas.openxmlformats.org/officeDocument/2006/relationships/tags" Target="../tags/tag165.xml"/><Relationship Id="rId13" Type="http://schemas.openxmlformats.org/officeDocument/2006/relationships/tags" Target="../tags/tag169.xml"/><Relationship Id="rId18" Type="http://schemas.openxmlformats.org/officeDocument/2006/relationships/tags" Target="../tags/tag174.xml"/><Relationship Id="rId39" Type="http://schemas.openxmlformats.org/officeDocument/2006/relationships/tags" Target="../tags/tag195.xml"/><Relationship Id="rId109" Type="http://schemas.openxmlformats.org/officeDocument/2006/relationships/slideLayout" Target="../slideLayouts/slideLayout3.xml"/><Relationship Id="rId34" Type="http://schemas.openxmlformats.org/officeDocument/2006/relationships/tags" Target="../tags/tag190.xml"/><Relationship Id="rId50" Type="http://schemas.openxmlformats.org/officeDocument/2006/relationships/tags" Target="../tags/tag206.xml"/><Relationship Id="rId55" Type="http://schemas.openxmlformats.org/officeDocument/2006/relationships/tags" Target="../tags/tag211.xml"/><Relationship Id="rId76" Type="http://schemas.openxmlformats.org/officeDocument/2006/relationships/tags" Target="../tags/tag232.xml"/><Relationship Id="rId97" Type="http://schemas.openxmlformats.org/officeDocument/2006/relationships/tags" Target="../tags/tag253.xml"/><Relationship Id="rId104" Type="http://schemas.openxmlformats.org/officeDocument/2006/relationships/tags" Target="../tags/tag260.xml"/><Relationship Id="rId7" Type="http://schemas.openxmlformats.org/officeDocument/2006/relationships/tags" Target="../tags/tag163.xml"/><Relationship Id="rId71" Type="http://schemas.openxmlformats.org/officeDocument/2006/relationships/tags" Target="../tags/tag227.xml"/><Relationship Id="rId92" Type="http://schemas.openxmlformats.org/officeDocument/2006/relationships/tags" Target="../tags/tag248.xml"/><Relationship Id="rId2" Type="http://schemas.openxmlformats.org/officeDocument/2006/relationships/tags" Target="../tags/tag158.xml"/><Relationship Id="rId29" Type="http://schemas.openxmlformats.org/officeDocument/2006/relationships/tags" Target="../tags/tag185.xml"/><Relationship Id="rId24" Type="http://schemas.openxmlformats.org/officeDocument/2006/relationships/tags" Target="../tags/tag180.xml"/><Relationship Id="rId40" Type="http://schemas.openxmlformats.org/officeDocument/2006/relationships/tags" Target="../tags/tag196.xml"/><Relationship Id="rId45" Type="http://schemas.openxmlformats.org/officeDocument/2006/relationships/tags" Target="../tags/tag201.xml"/><Relationship Id="rId66" Type="http://schemas.openxmlformats.org/officeDocument/2006/relationships/tags" Target="../tags/tag222.xml"/><Relationship Id="rId87" Type="http://schemas.openxmlformats.org/officeDocument/2006/relationships/tags" Target="../tags/tag243.xml"/><Relationship Id="rId110" Type="http://schemas.openxmlformats.org/officeDocument/2006/relationships/oleObject" Target="../embeddings/oleObject6.bin"/><Relationship Id="rId115" Type="http://schemas.openxmlformats.org/officeDocument/2006/relationships/oleObject" Target="../embeddings/oleObject7.bin"/><Relationship Id="rId61" Type="http://schemas.openxmlformats.org/officeDocument/2006/relationships/tags" Target="../tags/tag217.xml"/><Relationship Id="rId82" Type="http://schemas.openxmlformats.org/officeDocument/2006/relationships/tags" Target="../tags/tag238.xml"/><Relationship Id="rId19" Type="http://schemas.openxmlformats.org/officeDocument/2006/relationships/tags" Target="../tags/tag175.xml"/><Relationship Id="rId14" Type="http://schemas.openxmlformats.org/officeDocument/2006/relationships/tags" Target="../tags/tag170.xml"/><Relationship Id="rId30" Type="http://schemas.openxmlformats.org/officeDocument/2006/relationships/tags" Target="../tags/tag186.xml"/><Relationship Id="rId35" Type="http://schemas.openxmlformats.org/officeDocument/2006/relationships/tags" Target="../tags/tag191.xml"/><Relationship Id="rId56" Type="http://schemas.openxmlformats.org/officeDocument/2006/relationships/tags" Target="../tags/tag212.xml"/><Relationship Id="rId77" Type="http://schemas.openxmlformats.org/officeDocument/2006/relationships/tags" Target="../tags/tag233.xml"/><Relationship Id="rId100" Type="http://schemas.openxmlformats.org/officeDocument/2006/relationships/tags" Target="../tags/tag256.xml"/><Relationship Id="rId105" Type="http://schemas.openxmlformats.org/officeDocument/2006/relationships/tags" Target="../tags/tag261.xml"/><Relationship Id="rId8" Type="http://schemas.openxmlformats.org/officeDocument/2006/relationships/tags" Target="../tags/tag164.xml"/><Relationship Id="rId51" Type="http://schemas.openxmlformats.org/officeDocument/2006/relationships/tags" Target="../tags/tag207.xml"/><Relationship Id="rId72" Type="http://schemas.openxmlformats.org/officeDocument/2006/relationships/tags" Target="../tags/tag228.xml"/><Relationship Id="rId93" Type="http://schemas.openxmlformats.org/officeDocument/2006/relationships/tags" Target="../tags/tag249.xml"/><Relationship Id="rId98" Type="http://schemas.openxmlformats.org/officeDocument/2006/relationships/tags" Target="../tags/tag254.xml"/><Relationship Id="rId3" Type="http://schemas.openxmlformats.org/officeDocument/2006/relationships/tags" Target="../tags/tag159.xml"/><Relationship Id="rId25" Type="http://schemas.openxmlformats.org/officeDocument/2006/relationships/tags" Target="../tags/tag181.xml"/><Relationship Id="rId46" Type="http://schemas.openxmlformats.org/officeDocument/2006/relationships/tags" Target="../tags/tag202.xml"/><Relationship Id="rId67" Type="http://schemas.openxmlformats.org/officeDocument/2006/relationships/tags" Target="../tags/tag223.xml"/><Relationship Id="rId116" Type="http://schemas.openxmlformats.org/officeDocument/2006/relationships/image" Target="../media/image12.emf"/><Relationship Id="rId20" Type="http://schemas.openxmlformats.org/officeDocument/2006/relationships/tags" Target="../tags/tag176.xml"/><Relationship Id="rId41" Type="http://schemas.openxmlformats.org/officeDocument/2006/relationships/tags" Target="../tags/tag197.xml"/><Relationship Id="rId62" Type="http://schemas.openxmlformats.org/officeDocument/2006/relationships/tags" Target="../tags/tag218.xml"/><Relationship Id="rId83" Type="http://schemas.openxmlformats.org/officeDocument/2006/relationships/tags" Target="../tags/tag239.xml"/><Relationship Id="rId88" Type="http://schemas.openxmlformats.org/officeDocument/2006/relationships/tags" Target="../tags/tag244.xml"/><Relationship Id="rId111" Type="http://schemas.openxmlformats.org/officeDocument/2006/relationships/image" Target="../media/image9.emf"/><Relationship Id="rId15" Type="http://schemas.openxmlformats.org/officeDocument/2006/relationships/tags" Target="../tags/tag171.xml"/><Relationship Id="rId36" Type="http://schemas.openxmlformats.org/officeDocument/2006/relationships/tags" Target="../tags/tag192.xml"/><Relationship Id="rId57" Type="http://schemas.openxmlformats.org/officeDocument/2006/relationships/tags" Target="../tags/tag213.xml"/><Relationship Id="rId106" Type="http://schemas.openxmlformats.org/officeDocument/2006/relationships/tags" Target="../tags/tag26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tfig.unece.org/contents/mutual-recognition.htm" TargetMode="External"/><Relationship Id="rId2" Type="http://schemas.openxmlformats.org/officeDocument/2006/relationships/hyperlink" Target="http://tfig.unece.org/contents/authorized-economic-operators.htm" TargetMode="Externa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png"/><Relationship Id="rId4" Type="http://schemas.openxmlformats.org/officeDocument/2006/relationships/hyperlink" Target="http://tfig.unece.org/contents/NII-technology.htm" TargetMode="External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tags" Target="../tags/tag276.xml"/><Relationship Id="rId18" Type="http://schemas.openxmlformats.org/officeDocument/2006/relationships/tags" Target="../tags/tag281.xml"/><Relationship Id="rId26" Type="http://schemas.openxmlformats.org/officeDocument/2006/relationships/tags" Target="../tags/tag289.xml"/><Relationship Id="rId39" Type="http://schemas.openxmlformats.org/officeDocument/2006/relationships/tags" Target="../tags/tag302.xml"/><Relationship Id="rId21" Type="http://schemas.openxmlformats.org/officeDocument/2006/relationships/tags" Target="../tags/tag284.xml"/><Relationship Id="rId34" Type="http://schemas.openxmlformats.org/officeDocument/2006/relationships/tags" Target="../tags/tag297.xml"/><Relationship Id="rId42" Type="http://schemas.openxmlformats.org/officeDocument/2006/relationships/tags" Target="../tags/tag305.xml"/><Relationship Id="rId47" Type="http://schemas.openxmlformats.org/officeDocument/2006/relationships/tags" Target="../tags/tag310.xml"/><Relationship Id="rId50" Type="http://schemas.openxmlformats.org/officeDocument/2006/relationships/tags" Target="../tags/tag313.xml"/><Relationship Id="rId55" Type="http://schemas.openxmlformats.org/officeDocument/2006/relationships/tags" Target="../tags/tag318.xml"/><Relationship Id="rId63" Type="http://schemas.openxmlformats.org/officeDocument/2006/relationships/image" Target="../media/image14.emf"/><Relationship Id="rId7" Type="http://schemas.openxmlformats.org/officeDocument/2006/relationships/tags" Target="../tags/tag270.xml"/><Relationship Id="rId2" Type="http://schemas.openxmlformats.org/officeDocument/2006/relationships/tags" Target="../tags/tag265.xml"/><Relationship Id="rId16" Type="http://schemas.openxmlformats.org/officeDocument/2006/relationships/tags" Target="../tags/tag279.xml"/><Relationship Id="rId29" Type="http://schemas.openxmlformats.org/officeDocument/2006/relationships/tags" Target="../tags/tag292.xml"/><Relationship Id="rId11" Type="http://schemas.openxmlformats.org/officeDocument/2006/relationships/tags" Target="../tags/tag274.xml"/><Relationship Id="rId24" Type="http://schemas.openxmlformats.org/officeDocument/2006/relationships/tags" Target="../tags/tag287.xml"/><Relationship Id="rId32" Type="http://schemas.openxmlformats.org/officeDocument/2006/relationships/tags" Target="../tags/tag295.xml"/><Relationship Id="rId37" Type="http://schemas.openxmlformats.org/officeDocument/2006/relationships/tags" Target="../tags/tag300.xml"/><Relationship Id="rId40" Type="http://schemas.openxmlformats.org/officeDocument/2006/relationships/tags" Target="../tags/tag303.xml"/><Relationship Id="rId45" Type="http://schemas.openxmlformats.org/officeDocument/2006/relationships/tags" Target="../tags/tag308.xml"/><Relationship Id="rId53" Type="http://schemas.openxmlformats.org/officeDocument/2006/relationships/tags" Target="../tags/tag316.xml"/><Relationship Id="rId58" Type="http://schemas.openxmlformats.org/officeDocument/2006/relationships/image" Target="../media/image9.emf"/><Relationship Id="rId5" Type="http://schemas.openxmlformats.org/officeDocument/2006/relationships/tags" Target="../tags/tag268.xml"/><Relationship Id="rId61" Type="http://schemas.openxmlformats.org/officeDocument/2006/relationships/hyperlink" Target="http://www.wcoomd.org/en/topics/facilitation/instrument-and-tools/tools/safe_package.aspx" TargetMode="External"/><Relationship Id="rId19" Type="http://schemas.openxmlformats.org/officeDocument/2006/relationships/tags" Target="../tags/tag282.xml"/><Relationship Id="rId14" Type="http://schemas.openxmlformats.org/officeDocument/2006/relationships/tags" Target="../tags/tag277.xml"/><Relationship Id="rId22" Type="http://schemas.openxmlformats.org/officeDocument/2006/relationships/tags" Target="../tags/tag285.xml"/><Relationship Id="rId27" Type="http://schemas.openxmlformats.org/officeDocument/2006/relationships/tags" Target="../tags/tag290.xml"/><Relationship Id="rId30" Type="http://schemas.openxmlformats.org/officeDocument/2006/relationships/tags" Target="../tags/tag293.xml"/><Relationship Id="rId35" Type="http://schemas.openxmlformats.org/officeDocument/2006/relationships/tags" Target="../tags/tag298.xml"/><Relationship Id="rId43" Type="http://schemas.openxmlformats.org/officeDocument/2006/relationships/tags" Target="../tags/tag306.xml"/><Relationship Id="rId48" Type="http://schemas.openxmlformats.org/officeDocument/2006/relationships/tags" Target="../tags/tag311.xml"/><Relationship Id="rId56" Type="http://schemas.openxmlformats.org/officeDocument/2006/relationships/slideLayout" Target="../slideLayouts/slideLayout3.xml"/><Relationship Id="rId8" Type="http://schemas.openxmlformats.org/officeDocument/2006/relationships/tags" Target="../tags/tag271.xml"/><Relationship Id="rId51" Type="http://schemas.openxmlformats.org/officeDocument/2006/relationships/tags" Target="../tags/tag314.xml"/><Relationship Id="rId3" Type="http://schemas.openxmlformats.org/officeDocument/2006/relationships/tags" Target="../tags/tag266.xml"/><Relationship Id="rId12" Type="http://schemas.openxmlformats.org/officeDocument/2006/relationships/tags" Target="../tags/tag275.xml"/><Relationship Id="rId17" Type="http://schemas.openxmlformats.org/officeDocument/2006/relationships/tags" Target="../tags/tag280.xml"/><Relationship Id="rId25" Type="http://schemas.openxmlformats.org/officeDocument/2006/relationships/tags" Target="../tags/tag288.xml"/><Relationship Id="rId33" Type="http://schemas.openxmlformats.org/officeDocument/2006/relationships/tags" Target="../tags/tag296.xml"/><Relationship Id="rId38" Type="http://schemas.openxmlformats.org/officeDocument/2006/relationships/tags" Target="../tags/tag301.xml"/><Relationship Id="rId46" Type="http://schemas.openxmlformats.org/officeDocument/2006/relationships/tags" Target="../tags/tag309.xml"/><Relationship Id="rId59" Type="http://schemas.openxmlformats.org/officeDocument/2006/relationships/hyperlink" Target="http://www.wcoomd.org/en/topics/facilitation/instrument-and-tools/tools/~/media/55F00628A9F94827B58ECA90C0F84F7F.ashx" TargetMode="External"/><Relationship Id="rId20" Type="http://schemas.openxmlformats.org/officeDocument/2006/relationships/tags" Target="../tags/tag283.xml"/><Relationship Id="rId41" Type="http://schemas.openxmlformats.org/officeDocument/2006/relationships/tags" Target="../tags/tag304.xml"/><Relationship Id="rId54" Type="http://schemas.openxmlformats.org/officeDocument/2006/relationships/tags" Target="../tags/tag317.xml"/><Relationship Id="rId62" Type="http://schemas.openxmlformats.org/officeDocument/2006/relationships/oleObject" Target="../embeddings/oleObject10.bin"/><Relationship Id="rId1" Type="http://schemas.openxmlformats.org/officeDocument/2006/relationships/vmlDrawing" Target="../drawings/vmlDrawing6.vml"/><Relationship Id="rId6" Type="http://schemas.openxmlformats.org/officeDocument/2006/relationships/tags" Target="../tags/tag269.xml"/><Relationship Id="rId15" Type="http://schemas.openxmlformats.org/officeDocument/2006/relationships/tags" Target="../tags/tag278.xml"/><Relationship Id="rId23" Type="http://schemas.openxmlformats.org/officeDocument/2006/relationships/tags" Target="../tags/tag286.xml"/><Relationship Id="rId28" Type="http://schemas.openxmlformats.org/officeDocument/2006/relationships/tags" Target="../tags/tag291.xml"/><Relationship Id="rId36" Type="http://schemas.openxmlformats.org/officeDocument/2006/relationships/tags" Target="../tags/tag299.xml"/><Relationship Id="rId49" Type="http://schemas.openxmlformats.org/officeDocument/2006/relationships/tags" Target="../tags/tag312.xml"/><Relationship Id="rId57" Type="http://schemas.openxmlformats.org/officeDocument/2006/relationships/oleObject" Target="../embeddings/oleObject9.bin"/><Relationship Id="rId10" Type="http://schemas.openxmlformats.org/officeDocument/2006/relationships/tags" Target="../tags/tag273.xml"/><Relationship Id="rId31" Type="http://schemas.openxmlformats.org/officeDocument/2006/relationships/tags" Target="../tags/tag294.xml"/><Relationship Id="rId44" Type="http://schemas.openxmlformats.org/officeDocument/2006/relationships/tags" Target="../tags/tag307.xml"/><Relationship Id="rId52" Type="http://schemas.openxmlformats.org/officeDocument/2006/relationships/tags" Target="../tags/tag315.xml"/><Relationship Id="rId60" Type="http://schemas.openxmlformats.org/officeDocument/2006/relationships/hyperlink" Target="http://www.wcoomd.org/en/topics/facilitation/instrument-and-tools/tools/~/media/16A58BA1B8464CCCA620E84E69BAC6E2.ashx" TargetMode="External"/><Relationship Id="rId4" Type="http://schemas.openxmlformats.org/officeDocument/2006/relationships/tags" Target="../tags/tag267.xml"/><Relationship Id="rId9" Type="http://schemas.openxmlformats.org/officeDocument/2006/relationships/tags" Target="../tags/tag27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://tfig.unece.org/contents/customs-risk-management.htm" TargetMode="External"/><Relationship Id="rId2" Type="http://schemas.openxmlformats.org/officeDocument/2006/relationships/hyperlink" Target="http://tfig.unece.org/contents/joint-border-controls.htm" TargetMode="External"/><Relationship Id="rId1" Type="http://schemas.openxmlformats.org/officeDocument/2006/relationships/slideLayout" Target="../slideLayouts/slideLayout3.xml"/><Relationship Id="rId4" Type="http://schemas.openxmlformats.org/officeDocument/2006/relationships/hyperlink" Target="http://tfig.unece.org/contents/custom-transit.htm" TargetMode="Externa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http://tfig.unece.org/contents/opening-hours.htm" TargetMode="External"/><Relationship Id="rId3" Type="http://schemas.openxmlformats.org/officeDocument/2006/relationships/tags" Target="../tags/tag321.xml"/><Relationship Id="rId7" Type="http://schemas.openxmlformats.org/officeDocument/2006/relationships/hyperlink" Target="http://www.wcoomd.org/en/topics/facilitation/instrument-and-tools/conventions/pf_revised_kyoto_conv/kyoto_new.aspx" TargetMode="External"/><Relationship Id="rId2" Type="http://schemas.openxmlformats.org/officeDocument/2006/relationships/tags" Target="../tags/tag320.xml"/><Relationship Id="rId1" Type="http://schemas.openxmlformats.org/officeDocument/2006/relationships/tags" Target="../tags/tag319.xml"/><Relationship Id="rId6" Type="http://schemas.openxmlformats.org/officeDocument/2006/relationships/image" Target="../media/image15.png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322.xml"/><Relationship Id="rId9" Type="http://schemas.openxmlformats.org/officeDocument/2006/relationships/hyperlink" Target="http://www.unece.org/trans/conventn/harmone.pdf" TargetMode="Externa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330.xml"/><Relationship Id="rId13" Type="http://schemas.openxmlformats.org/officeDocument/2006/relationships/tags" Target="../tags/tag335.xml"/><Relationship Id="rId18" Type="http://schemas.openxmlformats.org/officeDocument/2006/relationships/image" Target="../media/image16.png"/><Relationship Id="rId26" Type="http://schemas.openxmlformats.org/officeDocument/2006/relationships/image" Target="../media/image24.png"/><Relationship Id="rId3" Type="http://schemas.openxmlformats.org/officeDocument/2006/relationships/tags" Target="../tags/tag325.xml"/><Relationship Id="rId21" Type="http://schemas.openxmlformats.org/officeDocument/2006/relationships/image" Target="../media/image19.png"/><Relationship Id="rId7" Type="http://schemas.openxmlformats.org/officeDocument/2006/relationships/tags" Target="../tags/tag329.xml"/><Relationship Id="rId12" Type="http://schemas.openxmlformats.org/officeDocument/2006/relationships/tags" Target="../tags/tag334.xml"/><Relationship Id="rId17" Type="http://schemas.openxmlformats.org/officeDocument/2006/relationships/slideLayout" Target="../slideLayouts/slideLayout5.xml"/><Relationship Id="rId25" Type="http://schemas.openxmlformats.org/officeDocument/2006/relationships/image" Target="../media/image23.png"/><Relationship Id="rId2" Type="http://schemas.openxmlformats.org/officeDocument/2006/relationships/tags" Target="../tags/tag324.xml"/><Relationship Id="rId16" Type="http://schemas.openxmlformats.org/officeDocument/2006/relationships/tags" Target="../tags/tag338.xml"/><Relationship Id="rId20" Type="http://schemas.openxmlformats.org/officeDocument/2006/relationships/image" Target="../media/image18.png"/><Relationship Id="rId29" Type="http://schemas.openxmlformats.org/officeDocument/2006/relationships/image" Target="../media/image27.png"/><Relationship Id="rId1" Type="http://schemas.openxmlformats.org/officeDocument/2006/relationships/tags" Target="../tags/tag323.xml"/><Relationship Id="rId6" Type="http://schemas.openxmlformats.org/officeDocument/2006/relationships/tags" Target="../tags/tag328.xml"/><Relationship Id="rId11" Type="http://schemas.openxmlformats.org/officeDocument/2006/relationships/tags" Target="../tags/tag333.xml"/><Relationship Id="rId24" Type="http://schemas.openxmlformats.org/officeDocument/2006/relationships/image" Target="../media/image22.jpeg"/><Relationship Id="rId5" Type="http://schemas.openxmlformats.org/officeDocument/2006/relationships/tags" Target="../tags/tag327.xml"/><Relationship Id="rId15" Type="http://schemas.openxmlformats.org/officeDocument/2006/relationships/tags" Target="../tags/tag337.xml"/><Relationship Id="rId23" Type="http://schemas.openxmlformats.org/officeDocument/2006/relationships/image" Target="../media/image21.jpeg"/><Relationship Id="rId28" Type="http://schemas.openxmlformats.org/officeDocument/2006/relationships/image" Target="../media/image26.png"/><Relationship Id="rId10" Type="http://schemas.openxmlformats.org/officeDocument/2006/relationships/tags" Target="../tags/tag332.xml"/><Relationship Id="rId19" Type="http://schemas.openxmlformats.org/officeDocument/2006/relationships/image" Target="../media/image17.png"/><Relationship Id="rId31" Type="http://schemas.openxmlformats.org/officeDocument/2006/relationships/image" Target="../media/image29.png"/><Relationship Id="rId4" Type="http://schemas.openxmlformats.org/officeDocument/2006/relationships/tags" Target="../tags/tag326.xml"/><Relationship Id="rId9" Type="http://schemas.openxmlformats.org/officeDocument/2006/relationships/tags" Target="../tags/tag331.xml"/><Relationship Id="rId14" Type="http://schemas.openxmlformats.org/officeDocument/2006/relationships/tags" Target="../tags/tag336.xml"/><Relationship Id="rId22" Type="http://schemas.openxmlformats.org/officeDocument/2006/relationships/image" Target="../media/image20.png"/><Relationship Id="rId27" Type="http://schemas.openxmlformats.org/officeDocument/2006/relationships/image" Target="../media/image25.png"/><Relationship Id="rId30" Type="http://schemas.openxmlformats.org/officeDocument/2006/relationships/image" Target="../media/image28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://tfig.unece.org/contents/itinerary-03-start.html" TargetMode="External"/><Relationship Id="rId2" Type="http://schemas.openxmlformats.org/officeDocument/2006/relationships/hyperlink" Target="http://tfig.unece.org/contents/borde-crossing-delays.htm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346.xml"/><Relationship Id="rId13" Type="http://schemas.openxmlformats.org/officeDocument/2006/relationships/image" Target="../media/image33.emf"/><Relationship Id="rId3" Type="http://schemas.openxmlformats.org/officeDocument/2006/relationships/tags" Target="../tags/tag341.xml"/><Relationship Id="rId7" Type="http://schemas.openxmlformats.org/officeDocument/2006/relationships/tags" Target="../tags/tag345.xml"/><Relationship Id="rId12" Type="http://schemas.openxmlformats.org/officeDocument/2006/relationships/image" Target="../media/image32.emf"/><Relationship Id="rId2" Type="http://schemas.openxmlformats.org/officeDocument/2006/relationships/tags" Target="../tags/tag340.xml"/><Relationship Id="rId1" Type="http://schemas.openxmlformats.org/officeDocument/2006/relationships/tags" Target="../tags/tag339.xml"/><Relationship Id="rId6" Type="http://schemas.openxmlformats.org/officeDocument/2006/relationships/tags" Target="../tags/tag344.xml"/><Relationship Id="rId11" Type="http://schemas.openxmlformats.org/officeDocument/2006/relationships/image" Target="../media/image31.emf"/><Relationship Id="rId5" Type="http://schemas.openxmlformats.org/officeDocument/2006/relationships/tags" Target="../tags/tag343.xml"/><Relationship Id="rId10" Type="http://schemas.openxmlformats.org/officeDocument/2006/relationships/slideLayout" Target="../slideLayouts/slideLayout4.xml"/><Relationship Id="rId4" Type="http://schemas.openxmlformats.org/officeDocument/2006/relationships/tags" Target="../tags/tag342.xml"/><Relationship Id="rId9" Type="http://schemas.openxmlformats.org/officeDocument/2006/relationships/tags" Target="../tags/tag34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7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hyperlink" Target="http://reports.weforum.org/global-enabling-trade-2013/" TargetMode="Externa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Titolo 1"/>
          <p:cNvSpPr>
            <a:spLocks noGrp="1"/>
          </p:cNvSpPr>
          <p:nvPr>
            <p:ph type="ctrTitle"/>
          </p:nvPr>
        </p:nvSpPr>
        <p:spPr bwMode="auto">
          <a:xfrm>
            <a:off x="395536" y="260648"/>
            <a:ext cx="8208912" cy="2520280"/>
          </a:xfrm>
          <a:solidFill>
            <a:schemeClr val="bg1"/>
          </a:solidFill>
        </p:spPr>
        <p:txBody>
          <a:bodyPr wrap="square" numCol="1" compatLnSpc="1">
            <a:prstTxWarp prst="textNoShape">
              <a:avLst/>
            </a:prstTxWarp>
          </a:bodyPr>
          <a:lstStyle/>
          <a:p>
            <a:r>
              <a:rPr lang="it-IT" sz="5400" dirty="0" smtClean="0">
                <a:solidFill>
                  <a:srgbClr val="00B0F0"/>
                </a:solidFill>
              </a:rPr>
              <a:t>Reduktimi i vonesave në kufi</a:t>
            </a:r>
            <a:r>
              <a:t/>
            </a:r>
            <a:br/>
            <a:r>
              <a:rPr lang="it-IT" b="0" dirty="0" smtClean="0">
                <a:solidFill>
                  <a:schemeClr val="tx1"/>
                </a:solidFill>
              </a:rPr>
              <a:t>Tiranë, Shqipëri</a:t>
            </a:r>
            <a:r>
              <a:t/>
            </a:r>
            <a:br/>
            <a:r>
              <a:rPr lang="it-IT" b="0" dirty="0" smtClean="0">
                <a:solidFill>
                  <a:schemeClr val="tx1"/>
                </a:solidFill>
              </a:rPr>
              <a:t>16 qershor 2016</a:t>
            </a:r>
            <a:r>
              <a:t/>
            </a:r>
            <a:br/>
            <a:endParaRPr lang="sq-AL" b="0" dirty="0" smtClean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5B4762-301B-4A92-BB6C-E47F2B780150}" type="slidenum">
              <a:rPr lang="it-IT"/>
              <a:pPr>
                <a:defRPr/>
              </a:pPr>
              <a:t>1</a:t>
            </a:fld>
            <a:endParaRPr lang="sq-AL"/>
          </a:p>
        </p:txBody>
      </p:sp>
      <p:pic>
        <p:nvPicPr>
          <p:cNvPr id="9220" name="Immagine 7" descr="logo-unece-small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80063" y="4076700"/>
            <a:ext cx="1841500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Sottotitolo 8"/>
          <p:cNvSpPr>
            <a:spLocks noGrp="1"/>
          </p:cNvSpPr>
          <p:nvPr>
            <p:ph type="subTitle" idx="1"/>
          </p:nvPr>
        </p:nvSpPr>
        <p:spPr>
          <a:xfrm>
            <a:off x="539552" y="1844824"/>
            <a:ext cx="8136904" cy="2808312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sz="4400" b="1" dirty="0" smtClean="0"/>
              <a:t>3. Menaxhimi ndërkufitar dhe instrumentet e doganave</a:t>
            </a:r>
            <a:endParaRPr lang="sq-AL" sz="4400" b="1" dirty="0">
              <a:ea typeface="+mj-ea"/>
              <a:cs typeface="+mj-cs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033696B-4224-4D74-92D2-B2221F4E303A}" type="slidenum">
              <a:rPr lang="it-IT"/>
              <a:pPr>
                <a:defRPr/>
              </a:pPr>
              <a:t>10</a:t>
            </a:fld>
            <a:endParaRPr lang="sq-AL"/>
          </a:p>
        </p:txBody>
      </p:sp>
    </p:spTree>
    <p:extLst>
      <p:ext uri="{BB962C8B-B14F-4D97-AF65-F5344CB8AC3E}">
        <p14:creationId xmlns:p14="http://schemas.microsoft.com/office/powerpoint/2010/main" val="631548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/>
          <p:cNvSpPr>
            <a:spLocks noGrp="1"/>
          </p:cNvSpPr>
          <p:nvPr>
            <p:ph type="title"/>
          </p:nvPr>
        </p:nvSpPr>
        <p:spPr>
          <a:xfrm>
            <a:off x="457200" y="421756"/>
            <a:ext cx="8229600" cy="576064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it-IT" sz="2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nstrumentet kryesorë të TF-së që lidhen me doganat dhe menaxhimin ndërkufitar</a:t>
            </a:r>
            <a:endParaRPr lang="sq-AL" sz="2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290" name="Segnaposto contenuto 6"/>
          <p:cNvSpPr>
            <a:spLocks noGrp="1"/>
          </p:cNvSpPr>
          <p:nvPr>
            <p:ph sz="half" idx="1"/>
          </p:nvPr>
        </p:nvSpPr>
        <p:spPr>
          <a:xfrm>
            <a:off x="457200" y="1196975"/>
            <a:ext cx="8075240" cy="4929188"/>
          </a:xfrm>
        </p:spPr>
        <p:txBody>
          <a:bodyPr>
            <a:noAutofit/>
          </a:bodyPr>
          <a:lstStyle/>
          <a:p>
            <a:r>
              <a:rPr lang="it-IT" sz="1050" dirty="0" smtClean="0"/>
              <a:t>Konventa e rishikuar e Kiotos</a:t>
            </a:r>
          </a:p>
          <a:p>
            <a:pPr lvl="1"/>
            <a:r>
              <a:rPr lang="it-IT" sz="1050" b="0" dirty="0" smtClean="0"/>
              <a:t>Miratuar më: 1999, hyrja në</a:t>
            </a:r>
            <a:r>
              <a:rPr sz="1050" dirty="0" smtClean="0"/>
              <a:t> </a:t>
            </a:r>
            <a:r>
              <a:rPr lang="it-IT" sz="1050" b="0" dirty="0" smtClean="0"/>
              <a:t>fuqi: 2005, palët</a:t>
            </a:r>
            <a:r>
              <a:rPr sz="1050" dirty="0" smtClean="0"/>
              <a:t> </a:t>
            </a:r>
            <a:r>
              <a:rPr lang="it-IT" sz="1050" b="0" dirty="0" smtClean="0"/>
              <a:t>kontraktuese: 78, administruar</a:t>
            </a:r>
            <a:r>
              <a:rPr sz="1050" dirty="0" smtClean="0"/>
              <a:t> </a:t>
            </a:r>
            <a:r>
              <a:rPr lang="it-IT" sz="1050" b="0" dirty="0" smtClean="0"/>
              <a:t>nga: OBD</a:t>
            </a:r>
          </a:p>
          <a:p>
            <a:endParaRPr lang="sq-AL" sz="1050" dirty="0" smtClean="0"/>
          </a:p>
          <a:p>
            <a:r>
              <a:rPr lang="en-US" sz="1050" dirty="0" smtClean="0"/>
              <a:t>Konventa Ndërkombëtare për Harmonizimin e Kontrollit të Mallrave në Kufi</a:t>
            </a:r>
          </a:p>
          <a:p>
            <a:pPr lvl="1"/>
            <a:r>
              <a:rPr lang="en-US" sz="1050" b="0" dirty="0" smtClean="0"/>
              <a:t>Miratuar më: 1982, hyrja në fuqi: 1985, palët kontraktuese: 56, administruar nga: UNECE</a:t>
            </a:r>
          </a:p>
          <a:p>
            <a:endParaRPr lang="sq-AL" sz="1050" dirty="0" smtClean="0"/>
          </a:p>
          <a:p>
            <a:r>
              <a:rPr lang="en-US" sz="1050" dirty="0" smtClean="0"/>
              <a:t>Sistemi i Harmonizuar</a:t>
            </a:r>
          </a:p>
          <a:p>
            <a:pPr lvl="1"/>
            <a:r>
              <a:rPr lang="it-IT" sz="1050" b="0" dirty="0" smtClean="0"/>
              <a:t>Miratuar më: 1983, hyrja në</a:t>
            </a:r>
            <a:r>
              <a:rPr sz="1050" dirty="0" smtClean="0"/>
              <a:t> </a:t>
            </a:r>
            <a:r>
              <a:rPr lang="it-IT" sz="1050" b="0" dirty="0" smtClean="0"/>
              <a:t>fuqi: 1988, palët</a:t>
            </a:r>
            <a:r>
              <a:rPr sz="1050" dirty="0" smtClean="0"/>
              <a:t> </a:t>
            </a:r>
            <a:r>
              <a:rPr lang="it-IT" sz="1050" b="0" dirty="0" smtClean="0"/>
              <a:t>kontraktuese: 141, administruar</a:t>
            </a:r>
            <a:r>
              <a:rPr sz="1050" dirty="0" smtClean="0"/>
              <a:t> </a:t>
            </a:r>
            <a:r>
              <a:rPr lang="it-IT" sz="1050" b="0" dirty="0" smtClean="0"/>
              <a:t>nga: OBD</a:t>
            </a:r>
          </a:p>
          <a:p>
            <a:endParaRPr lang="sq-AL" sz="1050" dirty="0" smtClean="0"/>
          </a:p>
          <a:p>
            <a:r>
              <a:rPr lang="en-US" sz="1050" dirty="0" smtClean="0"/>
              <a:t>Konventa e FAL (Lehtësimi i Trafikut Ndërkombëtar Detar)</a:t>
            </a:r>
          </a:p>
          <a:p>
            <a:pPr lvl="1"/>
            <a:r>
              <a:rPr lang="it-IT" sz="1050" b="0" dirty="0" smtClean="0"/>
              <a:t>Miratuar më: 1965, hyrja në</a:t>
            </a:r>
            <a:r>
              <a:rPr sz="1050" dirty="0" smtClean="0"/>
              <a:t> </a:t>
            </a:r>
            <a:r>
              <a:rPr lang="it-IT" sz="1050" b="0" dirty="0" smtClean="0"/>
              <a:t>fuqi: 1967, palët</a:t>
            </a:r>
            <a:r>
              <a:rPr sz="1050" dirty="0" smtClean="0"/>
              <a:t> </a:t>
            </a:r>
            <a:r>
              <a:rPr lang="it-IT" sz="1050" b="0" dirty="0" smtClean="0"/>
              <a:t>kontraktuese: 115, administruar</a:t>
            </a:r>
            <a:r>
              <a:rPr sz="1050" dirty="0" smtClean="0"/>
              <a:t> </a:t>
            </a:r>
            <a:r>
              <a:rPr lang="it-IT" sz="1050" b="0" dirty="0" smtClean="0"/>
              <a:t>nga: IMO (Organizata Ndërkombëtare Detare)</a:t>
            </a:r>
          </a:p>
          <a:p>
            <a:endParaRPr lang="sq-AL" sz="1050" dirty="0" smtClean="0"/>
          </a:p>
          <a:p>
            <a:r>
              <a:rPr lang="en-US" sz="1050" dirty="0" smtClean="0"/>
              <a:t>Konventa e Çikagos</a:t>
            </a:r>
          </a:p>
          <a:p>
            <a:pPr lvl="1"/>
            <a:r>
              <a:rPr lang="it-IT" sz="1050" b="0" dirty="0" smtClean="0"/>
              <a:t>Miratuar më: 1944, hyrja në</a:t>
            </a:r>
            <a:r>
              <a:rPr sz="1050" dirty="0" smtClean="0"/>
              <a:t> </a:t>
            </a:r>
            <a:r>
              <a:rPr lang="it-IT" sz="1050" b="0" dirty="0" smtClean="0"/>
              <a:t>fuqi: 1947, palët</a:t>
            </a:r>
            <a:r>
              <a:rPr sz="1050" dirty="0" smtClean="0"/>
              <a:t> </a:t>
            </a:r>
            <a:r>
              <a:rPr lang="it-IT" sz="1050" b="0" dirty="0" smtClean="0"/>
              <a:t>kontraktuese: 190, administruar</a:t>
            </a:r>
            <a:r>
              <a:rPr sz="1050" dirty="0" smtClean="0"/>
              <a:t> </a:t>
            </a:r>
            <a:r>
              <a:rPr lang="it-IT" sz="1050" b="0" dirty="0" smtClean="0"/>
              <a:t>nga: ICAO (Organizata Ndërkombëtare e Aviacionit Civil)</a:t>
            </a:r>
            <a:endParaRPr lang="sq-AL" sz="1050" b="0" dirty="0" smtClean="0"/>
          </a:p>
          <a:p>
            <a:endParaRPr lang="sq-AL" sz="1050" dirty="0" smtClean="0"/>
          </a:p>
          <a:p>
            <a:r>
              <a:rPr lang="en-US" sz="1050" dirty="0" smtClean="0"/>
              <a:t>Marrëveshja për Vlerësimin e GATT (Marrëveshja e Përgjithshme për Tarifat dhe Tregtinë)</a:t>
            </a:r>
          </a:p>
          <a:p>
            <a:pPr lvl="1"/>
            <a:r>
              <a:rPr lang="it-IT" sz="1050" b="0" dirty="0" smtClean="0"/>
              <a:t>Miratuar më: 1994, hyrja në</a:t>
            </a:r>
            <a:r>
              <a:rPr sz="1050" dirty="0" smtClean="0"/>
              <a:t> </a:t>
            </a:r>
            <a:r>
              <a:rPr lang="it-IT" sz="1050" b="0" dirty="0" smtClean="0"/>
              <a:t>fuqi: 1994, palët</a:t>
            </a:r>
            <a:r>
              <a:rPr sz="1050" dirty="0" smtClean="0"/>
              <a:t> </a:t>
            </a:r>
            <a:r>
              <a:rPr lang="it-IT" sz="1050" b="0" dirty="0" smtClean="0"/>
              <a:t>kontraktuese: 154, administruar</a:t>
            </a:r>
            <a:r>
              <a:rPr sz="1050" dirty="0" smtClean="0"/>
              <a:t> </a:t>
            </a:r>
            <a:r>
              <a:rPr lang="it-IT" sz="1050" b="0" dirty="0" smtClean="0"/>
              <a:t>nga: OBT</a:t>
            </a:r>
            <a:endParaRPr lang="sq-AL" sz="1050" b="0" dirty="0" smtClean="0"/>
          </a:p>
          <a:p>
            <a:endParaRPr lang="sq-AL" sz="1050" dirty="0" smtClean="0"/>
          </a:p>
          <a:p>
            <a:r>
              <a:rPr lang="en-US" sz="1050" dirty="0" smtClean="0"/>
              <a:t>Konventa e TIR (Transporti Ndërkombëtar i Mallrave)</a:t>
            </a:r>
          </a:p>
          <a:p>
            <a:pPr lvl="1"/>
            <a:r>
              <a:rPr lang="it-IT" sz="1050" b="0" dirty="0" smtClean="0"/>
              <a:t>Miratuar më: 1975, hyrja në</a:t>
            </a:r>
            <a:r>
              <a:rPr sz="1050" dirty="0" smtClean="0"/>
              <a:t> </a:t>
            </a:r>
            <a:r>
              <a:rPr lang="it-IT" sz="1050" b="0" dirty="0" smtClean="0"/>
              <a:t>fuqi: 1978, palët</a:t>
            </a:r>
            <a:r>
              <a:rPr sz="1050" dirty="0" smtClean="0"/>
              <a:t> </a:t>
            </a:r>
            <a:r>
              <a:rPr lang="it-IT" sz="1050" b="0" dirty="0" smtClean="0"/>
              <a:t>kontraktuese: 68, administruar</a:t>
            </a:r>
            <a:r>
              <a:rPr sz="1050" dirty="0" smtClean="0"/>
              <a:t> </a:t>
            </a:r>
            <a:r>
              <a:rPr lang="it-IT" sz="1050" b="0" dirty="0" smtClean="0"/>
              <a:t>nga: UNECE</a:t>
            </a:r>
            <a:endParaRPr lang="sq-AL" sz="1050" b="0" dirty="0" smtClean="0"/>
          </a:p>
          <a:p>
            <a:endParaRPr lang="sq-AL" sz="1050" dirty="0" smtClean="0"/>
          </a:p>
          <a:p>
            <a:r>
              <a:rPr lang="en-US" sz="1050" dirty="0" smtClean="0"/>
              <a:t>Konventa e Montrealit</a:t>
            </a:r>
          </a:p>
          <a:p>
            <a:pPr lvl="1"/>
            <a:r>
              <a:rPr lang="it-IT" sz="1050" b="0" dirty="0" smtClean="0"/>
              <a:t>Miratuar më: 1999, hyrja në</a:t>
            </a:r>
            <a:r>
              <a:rPr sz="1050" dirty="0" smtClean="0"/>
              <a:t> </a:t>
            </a:r>
            <a:r>
              <a:rPr lang="it-IT" sz="1050" b="0" dirty="0" smtClean="0"/>
              <a:t>fuqi: 2003, palët</a:t>
            </a:r>
            <a:r>
              <a:rPr sz="1050" dirty="0" smtClean="0"/>
              <a:t> </a:t>
            </a:r>
            <a:r>
              <a:rPr lang="it-IT" sz="1050" b="0" dirty="0" smtClean="0"/>
              <a:t>kontraktuese: 97, administruar</a:t>
            </a:r>
            <a:r>
              <a:rPr sz="1050" dirty="0" smtClean="0"/>
              <a:t> </a:t>
            </a:r>
            <a:r>
              <a:rPr lang="it-IT" sz="1050" b="0" dirty="0" smtClean="0"/>
              <a:t>nga: ICAO (Organizata Ndërkombëtare e Aviacionit Civil)</a:t>
            </a:r>
          </a:p>
        </p:txBody>
      </p:sp>
      <p:sp>
        <p:nvSpPr>
          <p:cNvPr id="8" name="Segnaposto numero diapositiva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3231542-20AA-444D-853C-ED449A3479F0}" type="slidenum">
              <a:rPr lang="it-IT"/>
              <a:pPr>
                <a:defRPr/>
              </a:pPr>
              <a:t>11</a:t>
            </a:fld>
            <a:endParaRPr lang="sq-A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kt 6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3" name="think-cell Slide" r:id="rId58" imgW="360" imgH="360" progId="TCLayout.ActiveDocument.1">
                  <p:embed/>
                </p:oleObj>
              </mc:Choice>
              <mc:Fallback>
                <p:oleObj name="think-cell Slide" r:id="rId58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Abgerundetes Rechteck 63"/>
          <p:cNvSpPr/>
          <p:nvPr>
            <p:custDataLst>
              <p:tags r:id="rId3"/>
            </p:custDataLst>
          </p:nvPr>
        </p:nvSpPr>
        <p:spPr>
          <a:xfrm>
            <a:off x="6804248" y="4437112"/>
            <a:ext cx="1800200" cy="187220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Abgerundetes Rechteck 21"/>
          <p:cNvSpPr/>
          <p:nvPr>
            <p:custDataLst>
              <p:tags r:id="rId4"/>
            </p:custDataLst>
          </p:nvPr>
        </p:nvSpPr>
        <p:spPr>
          <a:xfrm>
            <a:off x="6876256" y="1052736"/>
            <a:ext cx="1800200" cy="302433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Abgerundetes Rechteck 8"/>
          <p:cNvSpPr/>
          <p:nvPr>
            <p:custDataLst>
              <p:tags r:id="rId5"/>
            </p:custDataLst>
          </p:nvPr>
        </p:nvSpPr>
        <p:spPr>
          <a:xfrm>
            <a:off x="323528" y="1052736"/>
            <a:ext cx="5688632" cy="547260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457200" y="260648"/>
            <a:ext cx="8229600" cy="576263"/>
          </a:xfrm>
        </p:spPr>
        <p:txBody>
          <a:bodyPr/>
          <a:lstStyle/>
          <a:p>
            <a:r>
              <a:rPr dirty="0" smtClean="0"/>
              <a:t>Struktura e menaxhimit ndërkufitar dhe fusha e veprimit të doganave</a:t>
            </a:r>
            <a:endParaRPr lang="sq-AL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  <p:custDataLst>
              <p:tags r:id="rId7"/>
            </p:custDataLst>
          </p:nvPr>
        </p:nvSpPr>
        <p:spPr/>
        <p:txBody>
          <a:bodyPr/>
          <a:lstStyle/>
          <a:p>
            <a:pPr>
              <a:defRPr/>
            </a:pPr>
            <a:fld id="{7B502781-F299-4122-9748-0155205CA53E}" type="slidenum">
              <a:rPr lang="it-IT" smtClean="0"/>
              <a:pPr>
                <a:defRPr/>
              </a:pPr>
              <a:t>12</a:t>
            </a:fld>
            <a:endParaRPr lang="sq-AL"/>
          </a:p>
        </p:txBody>
      </p:sp>
      <p:sp>
        <p:nvSpPr>
          <p:cNvPr id="4" name="Rechteck 3"/>
          <p:cNvSpPr/>
          <p:nvPr>
            <p:custDataLst>
              <p:tags r:id="rId8"/>
            </p:custDataLst>
          </p:nvPr>
        </p:nvSpPr>
        <p:spPr>
          <a:xfrm>
            <a:off x="2483768" y="1196752"/>
            <a:ext cx="1584176" cy="36004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Menaxhimi ndërkufitar dhe doganat</a:t>
            </a:r>
            <a:endParaRPr lang="sq-AL" sz="1200" dirty="0">
              <a:solidFill>
                <a:schemeClr val="tx1"/>
              </a:solidFill>
            </a:endParaRPr>
          </a:p>
        </p:txBody>
      </p:sp>
      <p:sp>
        <p:nvSpPr>
          <p:cNvPr id="10" name="Rechteck 9"/>
          <p:cNvSpPr/>
          <p:nvPr>
            <p:custDataLst>
              <p:tags r:id="rId9"/>
            </p:custDataLst>
          </p:nvPr>
        </p:nvSpPr>
        <p:spPr>
          <a:xfrm>
            <a:off x="7020272" y="1508787"/>
            <a:ext cx="1440160" cy="2880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Blerjet</a:t>
            </a:r>
            <a:endParaRPr lang="sq-AL" sz="1050" dirty="0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>
            <p:custDataLst>
              <p:tags r:id="rId10"/>
            </p:custDataLst>
          </p:nvPr>
        </p:nvSpPr>
        <p:spPr>
          <a:xfrm>
            <a:off x="7020272" y="1892829"/>
            <a:ext cx="1440160" cy="2880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Ngarkesat dhe transporti</a:t>
            </a:r>
            <a:endParaRPr lang="sq-AL" sz="1050" dirty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>
            <p:custDataLst>
              <p:tags r:id="rId11"/>
            </p:custDataLst>
          </p:nvPr>
        </p:nvSpPr>
        <p:spPr>
          <a:xfrm>
            <a:off x="7020272" y="2276872"/>
            <a:ext cx="1440160" cy="2880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Pagesat</a:t>
            </a:r>
            <a:endParaRPr lang="sq-AL" sz="1050" dirty="0">
              <a:solidFill>
                <a:schemeClr val="tx1"/>
              </a:solidFill>
            </a:endParaRPr>
          </a:p>
        </p:txBody>
      </p:sp>
      <p:sp>
        <p:nvSpPr>
          <p:cNvPr id="14" name="Rechteck 13"/>
          <p:cNvSpPr/>
          <p:nvPr>
            <p:custDataLst>
              <p:tags r:id="rId12"/>
            </p:custDataLst>
          </p:nvPr>
        </p:nvSpPr>
        <p:spPr>
          <a:xfrm>
            <a:off x="7020272" y="2924944"/>
            <a:ext cx="1440160" cy="2880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Shkëmbimi i të dhënave për tregtinë elektronike</a:t>
            </a:r>
            <a:endParaRPr lang="sq-AL" sz="800" dirty="0">
              <a:solidFill>
                <a:schemeClr val="tx1"/>
              </a:solidFill>
            </a:endParaRPr>
          </a:p>
        </p:txBody>
      </p:sp>
      <p:sp>
        <p:nvSpPr>
          <p:cNvPr id="15" name="Rechteck 14"/>
          <p:cNvSpPr/>
          <p:nvPr>
            <p:custDataLst>
              <p:tags r:id="rId13"/>
            </p:custDataLst>
          </p:nvPr>
        </p:nvSpPr>
        <p:spPr>
          <a:xfrm>
            <a:off x="7020272" y="5085184"/>
            <a:ext cx="1440160" cy="28803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Instrumentet</a:t>
            </a:r>
            <a:endParaRPr lang="sq-AL" sz="1050" dirty="0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/>
          <p:nvPr>
            <p:custDataLst>
              <p:tags r:id="rId14"/>
            </p:custDataLst>
          </p:nvPr>
        </p:nvSpPr>
        <p:spPr>
          <a:xfrm>
            <a:off x="7020272" y="5445224"/>
            <a:ext cx="1440160" cy="28803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Organizatat</a:t>
            </a:r>
            <a:endParaRPr lang="sq-AL" sz="1050" dirty="0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/>
          <p:nvPr>
            <p:custDataLst>
              <p:tags r:id="rId15"/>
            </p:custDataLst>
          </p:nvPr>
        </p:nvSpPr>
        <p:spPr>
          <a:xfrm>
            <a:off x="7020272" y="5805264"/>
            <a:ext cx="1440160" cy="28803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Raste studimore</a:t>
            </a:r>
            <a:endParaRPr lang="sq-AL" sz="1050" dirty="0">
              <a:solidFill>
                <a:schemeClr val="tx1"/>
              </a:solidFill>
            </a:endParaRPr>
          </a:p>
        </p:txBody>
      </p:sp>
      <p:sp>
        <p:nvSpPr>
          <p:cNvPr id="20" name="Rechteck 19"/>
          <p:cNvSpPr/>
          <p:nvPr>
            <p:custDataLst>
              <p:tags r:id="rId16"/>
            </p:custDataLst>
          </p:nvPr>
        </p:nvSpPr>
        <p:spPr>
          <a:xfrm>
            <a:off x="7020272" y="3645024"/>
            <a:ext cx="1440160" cy="2880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Konsultimi dhe bashkëpunimi</a:t>
            </a:r>
            <a:endParaRPr lang="sq-AL" sz="1050" dirty="0">
              <a:solidFill>
                <a:schemeClr val="tx1"/>
              </a:solidFill>
            </a:endParaRPr>
          </a:p>
        </p:txBody>
      </p:sp>
      <p:sp>
        <p:nvSpPr>
          <p:cNvPr id="21" name="Rechteck 20"/>
          <p:cNvSpPr/>
          <p:nvPr>
            <p:custDataLst>
              <p:tags r:id="rId17"/>
            </p:custDataLst>
          </p:nvPr>
        </p:nvSpPr>
        <p:spPr>
          <a:xfrm>
            <a:off x="7020272" y="3284984"/>
            <a:ext cx="1440160" cy="2880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Analiza e proceseve të biznesit</a:t>
            </a:r>
            <a:endParaRPr lang="sq-AL" sz="1050" dirty="0">
              <a:solidFill>
                <a:schemeClr val="tx1"/>
              </a:solidFill>
            </a:endParaRPr>
          </a:p>
        </p:txBody>
      </p:sp>
      <p:sp>
        <p:nvSpPr>
          <p:cNvPr id="23" name="Rechteck 22"/>
          <p:cNvSpPr/>
          <p:nvPr>
            <p:custDataLst>
              <p:tags r:id="rId18"/>
            </p:custDataLst>
          </p:nvPr>
        </p:nvSpPr>
        <p:spPr>
          <a:xfrm>
            <a:off x="755576" y="1844824"/>
            <a:ext cx="1152128" cy="36004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Zhdoganimi</a:t>
            </a:r>
            <a:endParaRPr lang="sq-AL" sz="1050" dirty="0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/>
          <p:nvPr>
            <p:custDataLst>
              <p:tags r:id="rId19"/>
            </p:custDataLst>
          </p:nvPr>
        </p:nvSpPr>
        <p:spPr>
          <a:xfrm>
            <a:off x="4644008" y="1844824"/>
            <a:ext cx="1152128" cy="36004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Menaxhimi ndërkufitar</a:t>
            </a:r>
            <a:endParaRPr lang="sq-AL" sz="1050" dirty="0">
              <a:solidFill>
                <a:schemeClr val="tx1"/>
              </a:solidFill>
            </a:endParaRPr>
          </a:p>
        </p:txBody>
      </p:sp>
      <p:sp>
        <p:nvSpPr>
          <p:cNvPr id="25" name="Rechteck 24"/>
          <p:cNvSpPr/>
          <p:nvPr>
            <p:custDataLst>
              <p:tags r:id="rId20"/>
            </p:custDataLst>
          </p:nvPr>
        </p:nvSpPr>
        <p:spPr>
          <a:xfrm>
            <a:off x="755576" y="2348880"/>
            <a:ext cx="1152128" cy="2880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Të përgjithshme</a:t>
            </a:r>
            <a:endParaRPr lang="sq-AL" sz="1050" dirty="0">
              <a:solidFill>
                <a:schemeClr val="tx1"/>
              </a:solidFill>
            </a:endParaRPr>
          </a:p>
        </p:txBody>
      </p:sp>
      <p:sp>
        <p:nvSpPr>
          <p:cNvPr id="26" name="Rechteck 25"/>
          <p:cNvSpPr/>
          <p:nvPr>
            <p:custDataLst>
              <p:tags r:id="rId21"/>
            </p:custDataLst>
          </p:nvPr>
        </p:nvSpPr>
        <p:spPr>
          <a:xfrm>
            <a:off x="755576" y="4437112"/>
            <a:ext cx="1152128" cy="2880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Masat që lidhen me procesin</a:t>
            </a:r>
            <a:endParaRPr lang="sq-AL" sz="1050" dirty="0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/>
          <p:nvPr>
            <p:custDataLst>
              <p:tags r:id="rId22"/>
            </p:custDataLst>
          </p:nvPr>
        </p:nvSpPr>
        <p:spPr>
          <a:xfrm>
            <a:off x="4644008" y="2492896"/>
            <a:ext cx="1152128" cy="2880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Transiti</a:t>
            </a:r>
            <a:endParaRPr lang="sq-AL" sz="1050" dirty="0">
              <a:solidFill>
                <a:schemeClr val="tx1"/>
              </a:solidFill>
            </a:endParaRPr>
          </a:p>
        </p:txBody>
      </p:sp>
      <p:sp>
        <p:nvSpPr>
          <p:cNvPr id="28" name="Rechteck 27"/>
          <p:cNvSpPr/>
          <p:nvPr>
            <p:custDataLst>
              <p:tags r:id="rId23"/>
            </p:custDataLst>
          </p:nvPr>
        </p:nvSpPr>
        <p:spPr>
          <a:xfrm>
            <a:off x="4644008" y="2852936"/>
            <a:ext cx="1152128" cy="2880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Kontrollet e përbashkëta</a:t>
            </a:r>
            <a:endParaRPr lang="sq-AL" sz="1050" dirty="0">
              <a:solidFill>
                <a:schemeClr val="tx1"/>
              </a:solidFill>
            </a:endParaRPr>
          </a:p>
        </p:txBody>
      </p:sp>
      <p:sp>
        <p:nvSpPr>
          <p:cNvPr id="30" name="Rechteck 29"/>
          <p:cNvSpPr/>
          <p:nvPr>
            <p:custDataLst>
              <p:tags r:id="rId24"/>
            </p:custDataLst>
          </p:nvPr>
        </p:nvSpPr>
        <p:spPr>
          <a:xfrm>
            <a:off x="2699792" y="1844824"/>
            <a:ext cx="1152128" cy="36004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Siguria</a:t>
            </a:r>
            <a:endParaRPr lang="sq-AL" sz="1050" dirty="0">
              <a:solidFill>
                <a:schemeClr val="tx1"/>
              </a:solidFill>
            </a:endParaRPr>
          </a:p>
        </p:txBody>
      </p:sp>
      <p:sp>
        <p:nvSpPr>
          <p:cNvPr id="31" name="Rechteck 30"/>
          <p:cNvSpPr/>
          <p:nvPr>
            <p:custDataLst>
              <p:tags r:id="rId25"/>
            </p:custDataLst>
          </p:nvPr>
        </p:nvSpPr>
        <p:spPr>
          <a:xfrm>
            <a:off x="2699792" y="3212976"/>
            <a:ext cx="1152128" cy="2880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Teknologjia NII</a:t>
            </a:r>
            <a:endParaRPr lang="sq-AL" sz="1050" dirty="0">
              <a:solidFill>
                <a:schemeClr val="tx1"/>
              </a:solidFill>
            </a:endParaRPr>
          </a:p>
        </p:txBody>
      </p:sp>
      <p:sp>
        <p:nvSpPr>
          <p:cNvPr id="32" name="Rechteck 31"/>
          <p:cNvSpPr/>
          <p:nvPr>
            <p:custDataLst>
              <p:tags r:id="rId26"/>
            </p:custDataLst>
          </p:nvPr>
        </p:nvSpPr>
        <p:spPr>
          <a:xfrm>
            <a:off x="2699792" y="2852936"/>
            <a:ext cx="1152128" cy="2880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Njohja e përbashkët</a:t>
            </a:r>
            <a:endParaRPr lang="sq-AL" sz="1050" dirty="0">
              <a:solidFill>
                <a:schemeClr val="tx1"/>
              </a:solidFill>
            </a:endParaRPr>
          </a:p>
        </p:txBody>
      </p:sp>
      <p:sp>
        <p:nvSpPr>
          <p:cNvPr id="33" name="Rechteck 32"/>
          <p:cNvSpPr/>
          <p:nvPr>
            <p:custDataLst>
              <p:tags r:id="rId27"/>
            </p:custDataLst>
          </p:nvPr>
        </p:nvSpPr>
        <p:spPr>
          <a:xfrm>
            <a:off x="2699792" y="2492896"/>
            <a:ext cx="1152128" cy="2880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AEO</a:t>
            </a:r>
            <a:endParaRPr lang="sq-AL" sz="1050" dirty="0">
              <a:solidFill>
                <a:schemeClr val="tx1"/>
              </a:solidFill>
            </a:endParaRPr>
          </a:p>
        </p:txBody>
      </p:sp>
      <p:cxnSp>
        <p:nvCxnSpPr>
          <p:cNvPr id="34" name="Gerade Verbindung 33"/>
          <p:cNvCxnSpPr>
            <a:stCxn id="4" idx="2"/>
            <a:endCxn id="30" idx="0"/>
          </p:cNvCxnSpPr>
          <p:nvPr>
            <p:custDataLst>
              <p:tags r:id="rId28"/>
            </p:custDataLst>
          </p:nvPr>
        </p:nvCxnSpPr>
        <p:spPr>
          <a:xfrm>
            <a:off x="3275856" y="1556792"/>
            <a:ext cx="0" cy="2880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Form 35"/>
          <p:cNvCxnSpPr>
            <a:stCxn id="4" idx="2"/>
            <a:endCxn id="23" idx="0"/>
          </p:cNvCxnSpPr>
          <p:nvPr>
            <p:custDataLst>
              <p:tags r:id="rId29"/>
            </p:custDataLst>
          </p:nvPr>
        </p:nvCxnSpPr>
        <p:spPr>
          <a:xfrm rot="5400000">
            <a:off x="2159732" y="728700"/>
            <a:ext cx="288032" cy="1944216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winkelte Verbindung 37"/>
          <p:cNvCxnSpPr>
            <a:stCxn id="4" idx="2"/>
            <a:endCxn id="24" idx="0"/>
          </p:cNvCxnSpPr>
          <p:nvPr>
            <p:custDataLst>
              <p:tags r:id="rId30"/>
            </p:custDataLst>
          </p:nvPr>
        </p:nvCxnSpPr>
        <p:spPr>
          <a:xfrm rot="16200000" flipH="1">
            <a:off x="4103948" y="728700"/>
            <a:ext cx="288032" cy="1944216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winkelte Verbindung 40"/>
          <p:cNvCxnSpPr>
            <a:stCxn id="30" idx="1"/>
            <a:endCxn id="33" idx="1"/>
          </p:cNvCxnSpPr>
          <p:nvPr>
            <p:custDataLst>
              <p:tags r:id="rId31"/>
            </p:custDataLst>
          </p:nvPr>
        </p:nvCxnSpPr>
        <p:spPr>
          <a:xfrm rot="10800000" flipV="1">
            <a:off x="2699792" y="2024844"/>
            <a:ext cx="12700" cy="612068"/>
          </a:xfrm>
          <a:prstGeom prst="bentConnector3">
            <a:avLst>
              <a:gd name="adj1" fmla="val 180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winkelte Verbindung 42"/>
          <p:cNvCxnSpPr>
            <a:stCxn id="30" idx="1"/>
            <a:endCxn id="32" idx="1"/>
          </p:cNvCxnSpPr>
          <p:nvPr>
            <p:custDataLst>
              <p:tags r:id="rId32"/>
            </p:custDataLst>
          </p:nvPr>
        </p:nvCxnSpPr>
        <p:spPr>
          <a:xfrm rot="10800000" flipV="1">
            <a:off x="2699792" y="2024844"/>
            <a:ext cx="12700" cy="972108"/>
          </a:xfrm>
          <a:prstGeom prst="bentConnector3">
            <a:avLst>
              <a:gd name="adj1" fmla="val 180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winkelte Verbindung 44"/>
          <p:cNvCxnSpPr>
            <a:stCxn id="30" idx="1"/>
            <a:endCxn id="31" idx="1"/>
          </p:cNvCxnSpPr>
          <p:nvPr>
            <p:custDataLst>
              <p:tags r:id="rId33"/>
            </p:custDataLst>
          </p:nvPr>
        </p:nvCxnSpPr>
        <p:spPr>
          <a:xfrm rot="10800000" flipV="1">
            <a:off x="2699792" y="2024844"/>
            <a:ext cx="12700" cy="1332148"/>
          </a:xfrm>
          <a:prstGeom prst="bentConnector3">
            <a:avLst>
              <a:gd name="adj1" fmla="val 180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winkelte Verbindung 46"/>
          <p:cNvCxnSpPr>
            <a:stCxn id="23" idx="1"/>
            <a:endCxn id="25" idx="1"/>
          </p:cNvCxnSpPr>
          <p:nvPr>
            <p:custDataLst>
              <p:tags r:id="rId34"/>
            </p:custDataLst>
          </p:nvPr>
        </p:nvCxnSpPr>
        <p:spPr>
          <a:xfrm rot="10800000" flipV="1">
            <a:off x="755576" y="2024844"/>
            <a:ext cx="12700" cy="468052"/>
          </a:xfrm>
          <a:prstGeom prst="bentConnector3">
            <a:avLst>
              <a:gd name="adj1" fmla="val 180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winkelte Verbindung 48"/>
          <p:cNvCxnSpPr>
            <a:stCxn id="23" idx="1"/>
            <a:endCxn id="26" idx="1"/>
          </p:cNvCxnSpPr>
          <p:nvPr>
            <p:custDataLst>
              <p:tags r:id="rId35"/>
            </p:custDataLst>
          </p:nvPr>
        </p:nvCxnSpPr>
        <p:spPr>
          <a:xfrm rot="10800000" flipV="1">
            <a:off x="755576" y="2024844"/>
            <a:ext cx="12700" cy="2556284"/>
          </a:xfrm>
          <a:prstGeom prst="bentConnector3">
            <a:avLst>
              <a:gd name="adj1" fmla="val 180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winkelte Verbindung 50"/>
          <p:cNvCxnSpPr>
            <a:stCxn id="24" idx="1"/>
            <a:endCxn id="27" idx="1"/>
          </p:cNvCxnSpPr>
          <p:nvPr>
            <p:custDataLst>
              <p:tags r:id="rId36"/>
            </p:custDataLst>
          </p:nvPr>
        </p:nvCxnSpPr>
        <p:spPr>
          <a:xfrm rot="10800000" flipV="1">
            <a:off x="4644008" y="2024844"/>
            <a:ext cx="12700" cy="612068"/>
          </a:xfrm>
          <a:prstGeom prst="bentConnector3">
            <a:avLst>
              <a:gd name="adj1" fmla="val 180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winkelte Verbindung 52"/>
          <p:cNvCxnSpPr>
            <a:stCxn id="24" idx="1"/>
            <a:endCxn id="28" idx="1"/>
          </p:cNvCxnSpPr>
          <p:nvPr>
            <p:custDataLst>
              <p:tags r:id="rId37"/>
            </p:custDataLst>
          </p:nvPr>
        </p:nvCxnSpPr>
        <p:spPr>
          <a:xfrm rot="10800000" flipV="1">
            <a:off x="4644008" y="2024844"/>
            <a:ext cx="12700" cy="972108"/>
          </a:xfrm>
          <a:prstGeom prst="bentConnector3">
            <a:avLst>
              <a:gd name="adj1" fmla="val 180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AutoShape 2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 rot="5400000">
            <a:off x="5066196" y="3828368"/>
            <a:ext cx="3030984" cy="216024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45720" rIns="45720" anchor="ctr"/>
          <a:lstStyle/>
          <a:p>
            <a:endParaRPr lang="en-US" dirty="0"/>
          </a:p>
        </p:txBody>
      </p:sp>
      <p:sp>
        <p:nvSpPr>
          <p:cNvPr id="55" name="AutoShape 2"/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 rot="16200000">
            <a:off x="4748696" y="3828368"/>
            <a:ext cx="3030984" cy="216024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45720" rIns="45720" anchor="ctr"/>
          <a:lstStyle/>
          <a:p>
            <a:endParaRPr lang="en-US" dirty="0"/>
          </a:p>
        </p:txBody>
      </p:sp>
      <p:sp>
        <p:nvSpPr>
          <p:cNvPr id="56" name="Rechteck 55"/>
          <p:cNvSpPr/>
          <p:nvPr>
            <p:custDataLst>
              <p:tags r:id="rId40"/>
            </p:custDataLst>
          </p:nvPr>
        </p:nvSpPr>
        <p:spPr>
          <a:xfrm>
            <a:off x="899592" y="2708920"/>
            <a:ext cx="1152128" cy="2880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Automatizimi</a:t>
            </a:r>
            <a:endParaRPr lang="sq-AL" sz="1050" dirty="0">
              <a:solidFill>
                <a:schemeClr val="tx1"/>
              </a:solidFill>
            </a:endParaRPr>
          </a:p>
        </p:txBody>
      </p:sp>
      <p:sp>
        <p:nvSpPr>
          <p:cNvPr id="57" name="Rechteck 56"/>
          <p:cNvSpPr/>
          <p:nvPr>
            <p:custDataLst>
              <p:tags r:id="rId41"/>
            </p:custDataLst>
          </p:nvPr>
        </p:nvSpPr>
        <p:spPr>
          <a:xfrm>
            <a:off x="899592" y="3068960"/>
            <a:ext cx="1152128" cy="2880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Ankimimet</a:t>
            </a:r>
            <a:endParaRPr lang="sq-AL" sz="1050" dirty="0">
              <a:solidFill>
                <a:schemeClr val="tx1"/>
              </a:solidFill>
            </a:endParaRPr>
          </a:p>
        </p:txBody>
      </p:sp>
      <p:sp>
        <p:nvSpPr>
          <p:cNvPr id="58" name="Rechteck 57"/>
          <p:cNvSpPr/>
          <p:nvPr>
            <p:custDataLst>
              <p:tags r:id="rId42"/>
            </p:custDataLst>
          </p:nvPr>
        </p:nvSpPr>
        <p:spPr>
          <a:xfrm>
            <a:off x="899592" y="3429000"/>
            <a:ext cx="1152128" cy="2880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Integriteti</a:t>
            </a:r>
            <a:endParaRPr lang="sq-AL" sz="105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>
            <p:custDataLst>
              <p:tags r:id="rId43"/>
            </p:custDataLst>
          </p:nvPr>
        </p:nvSpPr>
        <p:spPr>
          <a:xfrm>
            <a:off x="899592" y="3933056"/>
            <a:ext cx="1152128" cy="2880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Orët e punës</a:t>
            </a:r>
            <a:endParaRPr lang="sq-AL" sz="1050" dirty="0">
              <a:solidFill>
                <a:schemeClr val="tx1"/>
              </a:solidFill>
            </a:endParaRPr>
          </a:p>
        </p:txBody>
      </p:sp>
      <p:sp>
        <p:nvSpPr>
          <p:cNvPr id="60" name="Rechteck 59"/>
          <p:cNvSpPr/>
          <p:nvPr>
            <p:custDataLst>
              <p:tags r:id="rId44"/>
            </p:custDataLst>
          </p:nvPr>
        </p:nvSpPr>
        <p:spPr>
          <a:xfrm>
            <a:off x="899592" y="4797152"/>
            <a:ext cx="1152128" cy="2880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Deklarata</a:t>
            </a:r>
            <a:endParaRPr lang="sq-AL" sz="1050" dirty="0">
              <a:solidFill>
                <a:schemeClr val="tx1"/>
              </a:solidFill>
            </a:endParaRPr>
          </a:p>
        </p:txBody>
      </p:sp>
      <p:sp>
        <p:nvSpPr>
          <p:cNvPr id="61" name="Rechteck 60"/>
          <p:cNvSpPr/>
          <p:nvPr>
            <p:custDataLst>
              <p:tags r:id="rId45"/>
            </p:custDataLst>
          </p:nvPr>
        </p:nvSpPr>
        <p:spPr>
          <a:xfrm>
            <a:off x="899592" y="5157192"/>
            <a:ext cx="1152128" cy="2880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Menaxhimi i rrezikut</a:t>
            </a:r>
            <a:endParaRPr lang="sq-AL" sz="1050" dirty="0">
              <a:solidFill>
                <a:schemeClr val="tx1"/>
              </a:solidFill>
            </a:endParaRPr>
          </a:p>
        </p:txBody>
      </p:sp>
      <p:sp>
        <p:nvSpPr>
          <p:cNvPr id="62" name="Rechteck 61"/>
          <p:cNvSpPr/>
          <p:nvPr>
            <p:custDataLst>
              <p:tags r:id="rId46"/>
            </p:custDataLst>
          </p:nvPr>
        </p:nvSpPr>
        <p:spPr>
          <a:xfrm>
            <a:off x="899592" y="5517232"/>
            <a:ext cx="1152128" cy="2880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Pagesat elektronike</a:t>
            </a:r>
            <a:endParaRPr lang="sq-AL" sz="1050" dirty="0">
              <a:solidFill>
                <a:schemeClr val="tx1"/>
              </a:solidFill>
            </a:endParaRPr>
          </a:p>
        </p:txBody>
      </p:sp>
      <p:sp>
        <p:nvSpPr>
          <p:cNvPr id="63" name="Rechteck 62"/>
          <p:cNvSpPr/>
          <p:nvPr>
            <p:custDataLst>
              <p:tags r:id="rId47"/>
            </p:custDataLst>
          </p:nvPr>
        </p:nvSpPr>
        <p:spPr>
          <a:xfrm>
            <a:off x="899592" y="6021288"/>
            <a:ext cx="1152128" cy="2880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Përpunimi </a:t>
            </a:r>
            <a:r>
              <a:rPr lang="en-US" sz="800" dirty="0" smtClean="0">
                <a:solidFill>
                  <a:schemeClr val="tx1"/>
                </a:solidFill>
              </a:rPr>
              <a:t>përpara</a:t>
            </a:r>
            <a:r>
              <a:rPr lang="en-US" sz="1050" dirty="0" smtClean="0">
                <a:solidFill>
                  <a:schemeClr val="tx1"/>
                </a:solidFill>
              </a:rPr>
              <a:t> mbërritjes</a:t>
            </a:r>
            <a:endParaRPr lang="sq-AL" sz="1050" dirty="0">
              <a:solidFill>
                <a:schemeClr val="tx1"/>
              </a:solidFill>
            </a:endParaRPr>
          </a:p>
        </p:txBody>
      </p:sp>
      <p:cxnSp>
        <p:nvCxnSpPr>
          <p:cNvPr id="67" name="Gewinkelte Verbindung 66"/>
          <p:cNvCxnSpPr>
            <a:stCxn id="25" idx="1"/>
            <a:endCxn id="56" idx="1"/>
          </p:cNvCxnSpPr>
          <p:nvPr>
            <p:custDataLst>
              <p:tags r:id="rId48"/>
            </p:custDataLst>
          </p:nvPr>
        </p:nvCxnSpPr>
        <p:spPr>
          <a:xfrm rot="10800000" flipH="1" flipV="1">
            <a:off x="755576" y="2492896"/>
            <a:ext cx="144016" cy="360040"/>
          </a:xfrm>
          <a:prstGeom prst="bentConnector3">
            <a:avLst>
              <a:gd name="adj1" fmla="val -64668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winkelte Verbindung 69"/>
          <p:cNvCxnSpPr>
            <a:stCxn id="25" idx="1"/>
            <a:endCxn id="57" idx="1"/>
          </p:cNvCxnSpPr>
          <p:nvPr>
            <p:custDataLst>
              <p:tags r:id="rId49"/>
            </p:custDataLst>
          </p:nvPr>
        </p:nvCxnSpPr>
        <p:spPr>
          <a:xfrm rot="10800000" flipH="1" flipV="1">
            <a:off x="755576" y="2492896"/>
            <a:ext cx="144016" cy="720080"/>
          </a:xfrm>
          <a:prstGeom prst="bentConnector3">
            <a:avLst>
              <a:gd name="adj1" fmla="val -64669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winkelte Verbindung 71"/>
          <p:cNvCxnSpPr>
            <a:stCxn id="25" idx="1"/>
            <a:endCxn id="58" idx="1"/>
          </p:cNvCxnSpPr>
          <p:nvPr>
            <p:custDataLst>
              <p:tags r:id="rId50"/>
            </p:custDataLst>
          </p:nvPr>
        </p:nvCxnSpPr>
        <p:spPr>
          <a:xfrm rot="10800000" flipH="1" flipV="1">
            <a:off x="755576" y="2492896"/>
            <a:ext cx="144016" cy="1080120"/>
          </a:xfrm>
          <a:prstGeom prst="bentConnector3">
            <a:avLst>
              <a:gd name="adj1" fmla="val -64669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winkelte Verbindung 73"/>
          <p:cNvCxnSpPr>
            <a:stCxn id="25" idx="1"/>
            <a:endCxn id="59" idx="1"/>
          </p:cNvCxnSpPr>
          <p:nvPr>
            <p:custDataLst>
              <p:tags r:id="rId51"/>
            </p:custDataLst>
          </p:nvPr>
        </p:nvCxnSpPr>
        <p:spPr>
          <a:xfrm rot="10800000" flipH="1" flipV="1">
            <a:off x="755576" y="2492896"/>
            <a:ext cx="144016" cy="1584176"/>
          </a:xfrm>
          <a:prstGeom prst="bentConnector3">
            <a:avLst>
              <a:gd name="adj1" fmla="val -64669"/>
            </a:avLst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winkelte Verbindung 86"/>
          <p:cNvCxnSpPr>
            <a:stCxn id="26" idx="1"/>
            <a:endCxn id="60" idx="1"/>
          </p:cNvCxnSpPr>
          <p:nvPr>
            <p:custDataLst>
              <p:tags r:id="rId52"/>
            </p:custDataLst>
          </p:nvPr>
        </p:nvCxnSpPr>
        <p:spPr>
          <a:xfrm rot="10800000" flipH="1" flipV="1">
            <a:off x="755576" y="4581128"/>
            <a:ext cx="144016" cy="360040"/>
          </a:xfrm>
          <a:prstGeom prst="bentConnector3">
            <a:avLst>
              <a:gd name="adj1" fmla="val -61118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Form 88"/>
          <p:cNvCxnSpPr>
            <a:stCxn id="26" idx="1"/>
            <a:endCxn id="61" idx="1"/>
          </p:cNvCxnSpPr>
          <p:nvPr>
            <p:custDataLst>
              <p:tags r:id="rId53"/>
            </p:custDataLst>
          </p:nvPr>
        </p:nvCxnSpPr>
        <p:spPr>
          <a:xfrm rot="10800000" flipH="1" flipV="1">
            <a:off x="755576" y="4581128"/>
            <a:ext cx="144016" cy="720080"/>
          </a:xfrm>
          <a:prstGeom prst="bentConnector3">
            <a:avLst>
              <a:gd name="adj1" fmla="val -6385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Form 90"/>
          <p:cNvCxnSpPr>
            <a:stCxn id="26" idx="1"/>
            <a:endCxn id="62" idx="1"/>
          </p:cNvCxnSpPr>
          <p:nvPr>
            <p:custDataLst>
              <p:tags r:id="rId54"/>
            </p:custDataLst>
          </p:nvPr>
        </p:nvCxnSpPr>
        <p:spPr>
          <a:xfrm rot="10800000" flipH="1" flipV="1">
            <a:off x="755576" y="4581128"/>
            <a:ext cx="144016" cy="1080120"/>
          </a:xfrm>
          <a:prstGeom prst="bentConnector3">
            <a:avLst>
              <a:gd name="adj1" fmla="val -64435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winkelte Verbindung 92"/>
          <p:cNvCxnSpPr>
            <a:stCxn id="26" idx="1"/>
            <a:endCxn id="63" idx="1"/>
          </p:cNvCxnSpPr>
          <p:nvPr>
            <p:custDataLst>
              <p:tags r:id="rId55"/>
            </p:custDataLst>
          </p:nvPr>
        </p:nvCxnSpPr>
        <p:spPr>
          <a:xfrm rot="10800000" flipH="1" flipV="1">
            <a:off x="755576" y="4581128"/>
            <a:ext cx="144016" cy="1584176"/>
          </a:xfrm>
          <a:prstGeom prst="bentConnector3">
            <a:avLst>
              <a:gd name="adj1" fmla="val -64435"/>
            </a:avLst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feld 104"/>
          <p:cNvSpPr txBox="1"/>
          <p:nvPr>
            <p:custDataLst>
              <p:tags r:id="rId56"/>
            </p:custDataLst>
          </p:nvPr>
        </p:nvSpPr>
        <p:spPr>
          <a:xfrm>
            <a:off x="6948264" y="1115452"/>
            <a:ext cx="18758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sz="1200" dirty="0" smtClean="0"/>
              <a:t>Fusha të tjera të veprimit</a:t>
            </a:r>
            <a:endParaRPr lang="sq-AL" sz="1200" dirty="0"/>
          </a:p>
        </p:txBody>
      </p:sp>
      <p:sp>
        <p:nvSpPr>
          <p:cNvPr id="66" name="Textfeld 65"/>
          <p:cNvSpPr txBox="1"/>
          <p:nvPr/>
        </p:nvSpPr>
        <p:spPr>
          <a:xfrm>
            <a:off x="6600434" y="4437112"/>
            <a:ext cx="222849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sz="1100" dirty="0" smtClean="0"/>
              <a:t>Fusha të tjera të Udhëzuesit </a:t>
            </a:r>
            <a:r>
              <a:rPr sz="1100" dirty="0" err="1" smtClean="0"/>
              <a:t>për</a:t>
            </a:r>
            <a:r>
              <a:rPr sz="1100" dirty="0" smtClean="0"/>
              <a:t> </a:t>
            </a:r>
            <a:endParaRPr lang="sq-AL" sz="1100" dirty="0" smtClean="0"/>
          </a:p>
          <a:p>
            <a:pPr algn="ctr"/>
            <a:r>
              <a:rPr sz="1100" dirty="0" err="1" smtClean="0"/>
              <a:t>Zbatimin</a:t>
            </a:r>
            <a:r>
              <a:rPr sz="1100" dirty="0" smtClean="0"/>
              <a:t> e Lehtësimit të Tregtisë</a:t>
            </a:r>
            <a:endParaRPr lang="sq-AL" sz="11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Sottotitolo 8"/>
          <p:cNvSpPr>
            <a:spLocks noGrp="1"/>
          </p:cNvSpPr>
          <p:nvPr>
            <p:ph type="subTitle" idx="1"/>
          </p:nvPr>
        </p:nvSpPr>
        <p:spPr>
          <a:xfrm>
            <a:off x="611560" y="2204864"/>
            <a:ext cx="7704856" cy="1944216"/>
          </a:xfrm>
        </p:spPr>
        <p:txBody>
          <a:bodyPr/>
          <a:lstStyle/>
          <a:p>
            <a:pPr marL="819150" indent="-457200">
              <a:spcBef>
                <a:spcPct val="0"/>
              </a:spcBef>
              <a:buClr>
                <a:schemeClr val="bg1"/>
              </a:buClr>
              <a:buFont typeface="+mj-lt"/>
              <a:buAutoNum type="alphaLcParenR"/>
            </a:pPr>
            <a:r>
              <a:rPr lang="en-US" sz="5400" b="1" dirty="0" smtClean="0"/>
              <a:t>Masat për zhdoganimin</a:t>
            </a:r>
            <a:endParaRPr lang="sq-AL" sz="5400" b="1" dirty="0">
              <a:ea typeface="+mj-ea"/>
              <a:cs typeface="+mj-cs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033696B-4224-4D74-92D2-B2221F4E303A}" type="slidenum">
              <a:rPr lang="it-IT"/>
              <a:pPr>
                <a:defRPr/>
              </a:pPr>
              <a:t>13</a:t>
            </a:fld>
            <a:endParaRPr lang="sq-AL"/>
          </a:p>
        </p:txBody>
      </p:sp>
    </p:spTree>
    <p:extLst>
      <p:ext uri="{BB962C8B-B14F-4D97-AF65-F5344CB8AC3E}">
        <p14:creationId xmlns:p14="http://schemas.microsoft.com/office/powerpoint/2010/main" val="2867567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smtClean="0"/>
              <a:t>Masat e LT për zhdoganimin</a:t>
            </a:r>
            <a:endParaRPr lang="sq-AL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082725546"/>
              </p:ext>
            </p:extLst>
          </p:nvPr>
        </p:nvGraphicFramePr>
        <p:xfrm>
          <a:off x="457200" y="1196975"/>
          <a:ext cx="4038600" cy="49291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8" name="Content Placeholder 7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269795583"/>
              </p:ext>
            </p:extLst>
          </p:nvPr>
        </p:nvGraphicFramePr>
        <p:xfrm>
          <a:off x="4648200" y="1196975"/>
          <a:ext cx="4038600" cy="49291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E8BFDE2-B67A-4EC0-945D-C364EF001C2F}" type="slidenum">
              <a:rPr lang="it-IT" smtClean="0"/>
              <a:pPr>
                <a:defRPr/>
              </a:pPr>
              <a:t>14</a:t>
            </a:fld>
            <a:endParaRPr lang="sq-AL"/>
          </a:p>
        </p:txBody>
      </p:sp>
    </p:spTree>
    <p:extLst>
      <p:ext uri="{BB962C8B-B14F-4D97-AF65-F5344CB8AC3E}">
        <p14:creationId xmlns:p14="http://schemas.microsoft.com/office/powerpoint/2010/main" val="3762942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6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dirty="0" smtClean="0"/>
              <a:t>Masa të përgjithshme të LT me ndikim në procesin e zhdoganimit</a:t>
            </a:r>
            <a:endParaRPr lang="sq-AL" dirty="0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sz="2000" dirty="0" smtClean="0">
                <a:hlinkClick r:id="rId10"/>
              </a:rPr>
              <a:t>Terminologjia doganore dhe përkufizimet e të dhënave tregtare të standardizuara në nivel ndërkombëtar</a:t>
            </a:r>
            <a:endParaRPr lang="sq-AL" sz="2000" dirty="0" smtClean="0"/>
          </a:p>
          <a:p>
            <a:r>
              <a:rPr lang="en-US" sz="2000" dirty="0" smtClean="0">
                <a:hlinkClick r:id="rId11"/>
              </a:rPr>
              <a:t>Publikimi i ligjeve dhe rregulloreve përkatëse</a:t>
            </a:r>
            <a:endParaRPr lang="sq-AL" sz="2000" dirty="0" smtClean="0"/>
          </a:p>
          <a:p>
            <a:r>
              <a:rPr lang="en-US" sz="2000" dirty="0" smtClean="0">
                <a:hlinkClick r:id="rId12"/>
              </a:rPr>
              <a:t>Konsultimi për tregtinë formale</a:t>
            </a:r>
            <a:endParaRPr lang="sq-AL" sz="2000" dirty="0" smtClean="0"/>
          </a:p>
          <a:p>
            <a:r>
              <a:rPr lang="en-US" sz="2000" dirty="0" smtClean="0">
                <a:hlinkClick r:id="rId13"/>
              </a:rPr>
              <a:t>Agjentët doganorë</a:t>
            </a:r>
            <a:endParaRPr lang="sq-AL" sz="2000" dirty="0" smtClean="0"/>
          </a:p>
          <a:p>
            <a:r>
              <a:rPr lang="en-US" sz="2000" dirty="0" smtClean="0">
                <a:hlinkClick r:id="rId14"/>
              </a:rPr>
              <a:t>Sistemi i ankimimit</a:t>
            </a:r>
            <a:endParaRPr lang="sq-AL" sz="2000" dirty="0" smtClean="0"/>
          </a:p>
          <a:p>
            <a:r>
              <a:rPr lang="en-US" sz="2000" dirty="0" smtClean="0">
                <a:hlinkClick r:id="rId15"/>
              </a:rPr>
              <a:t>Programet e integritetit</a:t>
            </a:r>
            <a:endParaRPr lang="sq-AL" sz="2000" dirty="0" smtClean="0"/>
          </a:p>
          <a:p>
            <a:r>
              <a:rPr lang="en-US" sz="2000" dirty="0" smtClean="0">
                <a:hlinkClick r:id="rId16"/>
              </a:rPr>
              <a:t>Menaxhimi i rrezikut dhe përzgjedhja</a:t>
            </a:r>
            <a:endParaRPr lang="sq-AL" sz="2000" dirty="0" smtClean="0"/>
          </a:p>
          <a:p>
            <a:r>
              <a:rPr lang="en-US" sz="2000" dirty="0" smtClean="0">
                <a:hlinkClick r:id="rId17"/>
              </a:rPr>
              <a:t>Automatizimi i doganave</a:t>
            </a:r>
            <a:endParaRPr lang="sq-AL" sz="2000" dirty="0" smtClean="0"/>
          </a:p>
          <a:p>
            <a:r>
              <a:rPr lang="en-US" sz="2000" dirty="0" smtClean="0">
                <a:hlinkClick r:id="rId18"/>
              </a:rPr>
              <a:t>Programet e sportelit të vetëm</a:t>
            </a:r>
            <a:endParaRPr lang="sq-AL" sz="2000" dirty="0" smtClean="0"/>
          </a:p>
          <a:p>
            <a:r>
              <a:rPr lang="en-US" sz="2000" dirty="0" smtClean="0">
                <a:hlinkClick r:id="rId19"/>
              </a:rPr>
              <a:t>Programet për tregtarët e autorizuar</a:t>
            </a:r>
            <a:endParaRPr lang="sq-AL" sz="2000" dirty="0" smtClean="0"/>
          </a:p>
          <a:p>
            <a:r>
              <a:rPr lang="en-US" sz="2000" dirty="0" smtClean="0">
                <a:hlinkClick r:id="rId20"/>
              </a:rPr>
              <a:t>Auditimi pas zhdoganimit</a:t>
            </a:r>
            <a:endParaRPr lang="sq-AL" sz="2000" dirty="0" smtClean="0"/>
          </a:p>
          <a:p>
            <a:r>
              <a:rPr lang="en-US" sz="2000" dirty="0" smtClean="0">
                <a:hlinkClick r:id="rId21"/>
              </a:rPr>
              <a:t>Skemat de minimis</a:t>
            </a:r>
            <a:endParaRPr lang="sq-AL" sz="2000" dirty="0" smtClean="0"/>
          </a:p>
          <a:p>
            <a:r>
              <a:rPr lang="en-US" sz="2000" dirty="0" smtClean="0">
                <a:hlinkClick r:id="rId22"/>
              </a:rPr>
              <a:t>Orët e punës</a:t>
            </a:r>
            <a:endParaRPr lang="sq-AL" sz="200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7B502781-F299-4122-9748-0155205CA53E}" type="slidenum">
              <a:rPr lang="it-IT" smtClean="0"/>
              <a:pPr>
                <a:defRPr/>
              </a:pPr>
              <a:t>15</a:t>
            </a:fld>
            <a:endParaRPr lang="sq-AL"/>
          </a:p>
        </p:txBody>
      </p:sp>
      <p:grpSp>
        <p:nvGrpSpPr>
          <p:cNvPr id="5" name="Gruppieren 4"/>
          <p:cNvGrpSpPr/>
          <p:nvPr>
            <p:custDataLst>
              <p:tags r:id="rId6"/>
            </p:custDataLst>
          </p:nvPr>
        </p:nvGrpSpPr>
        <p:grpSpPr>
          <a:xfrm>
            <a:off x="8316416" y="476672"/>
            <a:ext cx="576064" cy="504056"/>
            <a:chOff x="755576" y="1196752"/>
            <a:chExt cx="5040560" cy="5112568"/>
          </a:xfrm>
        </p:grpSpPr>
        <p:sp>
          <p:nvSpPr>
            <p:cNvPr id="6" name="Rechteck 5"/>
            <p:cNvSpPr/>
            <p:nvPr/>
          </p:nvSpPr>
          <p:spPr>
            <a:xfrm>
              <a:off x="2483768" y="1196752"/>
              <a:ext cx="1584176" cy="36004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>
            <a:xfrm>
              <a:off x="755576" y="1844824"/>
              <a:ext cx="1152128" cy="36004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8" name="Rechteck 7"/>
            <p:cNvSpPr/>
            <p:nvPr/>
          </p:nvSpPr>
          <p:spPr>
            <a:xfrm>
              <a:off x="4644008" y="1844824"/>
              <a:ext cx="1152128" cy="36004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9" name="Rechteck 8"/>
            <p:cNvSpPr/>
            <p:nvPr/>
          </p:nvSpPr>
          <p:spPr>
            <a:xfrm>
              <a:off x="755576" y="2348880"/>
              <a:ext cx="1152128" cy="28803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0" name="Rechteck 9"/>
            <p:cNvSpPr/>
            <p:nvPr/>
          </p:nvSpPr>
          <p:spPr>
            <a:xfrm>
              <a:off x="755576" y="443711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4644008" y="249289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4644008" y="285293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eck 12"/>
            <p:cNvSpPr/>
            <p:nvPr/>
          </p:nvSpPr>
          <p:spPr>
            <a:xfrm>
              <a:off x="2699792" y="1844824"/>
              <a:ext cx="1152128" cy="36004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2699792" y="321297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2699792" y="285293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2699792" y="249289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Gerade Verbindung 16"/>
            <p:cNvCxnSpPr>
              <a:stCxn id="6" idx="2"/>
              <a:endCxn id="13" idx="0"/>
            </p:cNvCxnSpPr>
            <p:nvPr/>
          </p:nvCxnSpPr>
          <p:spPr>
            <a:xfrm>
              <a:off x="3275856" y="1556792"/>
              <a:ext cx="0" cy="28803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Form 35"/>
            <p:cNvCxnSpPr>
              <a:stCxn id="6" idx="2"/>
              <a:endCxn id="7" idx="0"/>
            </p:cNvCxnSpPr>
            <p:nvPr/>
          </p:nvCxnSpPr>
          <p:spPr>
            <a:xfrm rot="5400000">
              <a:off x="2159732" y="728700"/>
              <a:ext cx="288032" cy="1944216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winkelte Verbindung 18"/>
            <p:cNvCxnSpPr>
              <a:stCxn id="6" idx="2"/>
              <a:endCxn id="8" idx="0"/>
            </p:cNvCxnSpPr>
            <p:nvPr/>
          </p:nvCxnSpPr>
          <p:spPr>
            <a:xfrm rot="16200000" flipH="1">
              <a:off x="4103948" y="728700"/>
              <a:ext cx="288032" cy="1944216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winkelte Verbindung 19"/>
            <p:cNvCxnSpPr>
              <a:stCxn id="13" idx="1"/>
              <a:endCxn id="16" idx="1"/>
            </p:cNvCxnSpPr>
            <p:nvPr/>
          </p:nvCxnSpPr>
          <p:spPr>
            <a:xfrm rot="10800000" flipV="1">
              <a:off x="2699792" y="2024844"/>
              <a:ext cx="12700" cy="61206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winkelte Verbindung 20"/>
            <p:cNvCxnSpPr>
              <a:stCxn id="13" idx="1"/>
              <a:endCxn id="15" idx="1"/>
            </p:cNvCxnSpPr>
            <p:nvPr/>
          </p:nvCxnSpPr>
          <p:spPr>
            <a:xfrm rot="10800000" flipV="1">
              <a:off x="2699792" y="2024844"/>
              <a:ext cx="12700" cy="97210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winkelte Verbindung 21"/>
            <p:cNvCxnSpPr>
              <a:stCxn id="13" idx="1"/>
              <a:endCxn id="14" idx="1"/>
            </p:cNvCxnSpPr>
            <p:nvPr/>
          </p:nvCxnSpPr>
          <p:spPr>
            <a:xfrm rot="10800000" flipV="1">
              <a:off x="2699792" y="2024844"/>
              <a:ext cx="12700" cy="133214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winkelte Verbindung 22"/>
            <p:cNvCxnSpPr>
              <a:stCxn id="7" idx="1"/>
              <a:endCxn id="9" idx="1"/>
            </p:cNvCxnSpPr>
            <p:nvPr/>
          </p:nvCxnSpPr>
          <p:spPr>
            <a:xfrm rot="10800000" flipV="1">
              <a:off x="755576" y="2024844"/>
              <a:ext cx="12700" cy="468052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winkelte Verbindung 23"/>
            <p:cNvCxnSpPr>
              <a:stCxn id="7" idx="1"/>
              <a:endCxn id="10" idx="1"/>
            </p:cNvCxnSpPr>
            <p:nvPr/>
          </p:nvCxnSpPr>
          <p:spPr>
            <a:xfrm rot="10800000" flipV="1">
              <a:off x="755576" y="2024844"/>
              <a:ext cx="12700" cy="2556284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winkelte Verbindung 24"/>
            <p:cNvCxnSpPr>
              <a:stCxn id="8" idx="1"/>
              <a:endCxn id="11" idx="1"/>
            </p:cNvCxnSpPr>
            <p:nvPr/>
          </p:nvCxnSpPr>
          <p:spPr>
            <a:xfrm rot="10800000" flipV="1">
              <a:off x="4644008" y="2024844"/>
              <a:ext cx="12700" cy="61206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winkelte Verbindung 25"/>
            <p:cNvCxnSpPr>
              <a:stCxn id="8" idx="1"/>
              <a:endCxn id="12" idx="1"/>
            </p:cNvCxnSpPr>
            <p:nvPr/>
          </p:nvCxnSpPr>
          <p:spPr>
            <a:xfrm rot="10800000" flipV="1">
              <a:off x="4644008" y="2024844"/>
              <a:ext cx="12700" cy="97210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echteck 26"/>
            <p:cNvSpPr/>
            <p:nvPr/>
          </p:nvSpPr>
          <p:spPr>
            <a:xfrm>
              <a:off x="899592" y="270892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899592" y="306896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899592" y="342900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899592" y="393305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1" name="Rechteck 30"/>
            <p:cNvSpPr/>
            <p:nvPr/>
          </p:nvSpPr>
          <p:spPr>
            <a:xfrm>
              <a:off x="899592" y="479715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2" name="Rechteck 31"/>
            <p:cNvSpPr/>
            <p:nvPr/>
          </p:nvSpPr>
          <p:spPr>
            <a:xfrm>
              <a:off x="899592" y="515719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899592" y="551723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899592" y="6021288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cxnSp>
          <p:nvCxnSpPr>
            <p:cNvPr id="35" name="Gewinkelte Verbindung 34"/>
            <p:cNvCxnSpPr>
              <a:stCxn id="9" idx="1"/>
              <a:endCxn id="27" idx="1"/>
            </p:cNvCxnSpPr>
            <p:nvPr/>
          </p:nvCxnSpPr>
          <p:spPr>
            <a:xfrm rot="10800000" flipH="1" flipV="1">
              <a:off x="755576" y="2492896"/>
              <a:ext cx="144016" cy="360040"/>
            </a:xfrm>
            <a:prstGeom prst="bentConnector3">
              <a:avLst>
                <a:gd name="adj1" fmla="val -64668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winkelte Verbindung 35"/>
            <p:cNvCxnSpPr>
              <a:stCxn id="9" idx="1"/>
              <a:endCxn id="28" idx="1"/>
            </p:cNvCxnSpPr>
            <p:nvPr/>
          </p:nvCxnSpPr>
          <p:spPr>
            <a:xfrm rot="10800000" flipH="1" flipV="1">
              <a:off x="755576" y="2492896"/>
              <a:ext cx="144016" cy="720080"/>
            </a:xfrm>
            <a:prstGeom prst="bentConnector3">
              <a:avLst>
                <a:gd name="adj1" fmla="val -64669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winkelte Verbindung 36"/>
            <p:cNvCxnSpPr>
              <a:stCxn id="9" idx="1"/>
              <a:endCxn id="29" idx="1"/>
            </p:cNvCxnSpPr>
            <p:nvPr/>
          </p:nvCxnSpPr>
          <p:spPr>
            <a:xfrm rot="10800000" flipH="1" flipV="1">
              <a:off x="755576" y="2492896"/>
              <a:ext cx="144016" cy="1080120"/>
            </a:xfrm>
            <a:prstGeom prst="bentConnector3">
              <a:avLst>
                <a:gd name="adj1" fmla="val -64669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winkelte Verbindung 37"/>
            <p:cNvCxnSpPr>
              <a:stCxn id="9" idx="1"/>
              <a:endCxn id="30" idx="1"/>
            </p:cNvCxnSpPr>
            <p:nvPr/>
          </p:nvCxnSpPr>
          <p:spPr>
            <a:xfrm rot="10800000" flipH="1" flipV="1">
              <a:off x="755576" y="2492896"/>
              <a:ext cx="144016" cy="1584176"/>
            </a:xfrm>
            <a:prstGeom prst="bentConnector3">
              <a:avLst>
                <a:gd name="adj1" fmla="val -64669"/>
              </a:avLst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winkelte Verbindung 38"/>
            <p:cNvCxnSpPr>
              <a:stCxn id="10" idx="1"/>
              <a:endCxn id="31" idx="1"/>
            </p:cNvCxnSpPr>
            <p:nvPr/>
          </p:nvCxnSpPr>
          <p:spPr>
            <a:xfrm rot="10800000" flipH="1" flipV="1">
              <a:off x="755576" y="4581128"/>
              <a:ext cx="144016" cy="360040"/>
            </a:xfrm>
            <a:prstGeom prst="bentConnector3">
              <a:avLst>
                <a:gd name="adj1" fmla="val -61118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Form 88"/>
            <p:cNvCxnSpPr>
              <a:stCxn id="10" idx="1"/>
              <a:endCxn id="32" idx="1"/>
            </p:cNvCxnSpPr>
            <p:nvPr/>
          </p:nvCxnSpPr>
          <p:spPr>
            <a:xfrm rot="10800000" flipH="1" flipV="1">
              <a:off x="755576" y="4581128"/>
              <a:ext cx="144016" cy="720080"/>
            </a:xfrm>
            <a:prstGeom prst="bentConnector3">
              <a:avLst>
                <a:gd name="adj1" fmla="val -63853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Form 90"/>
            <p:cNvCxnSpPr>
              <a:stCxn id="10" idx="1"/>
              <a:endCxn id="33" idx="1"/>
            </p:cNvCxnSpPr>
            <p:nvPr/>
          </p:nvCxnSpPr>
          <p:spPr>
            <a:xfrm rot="10800000" flipH="1" flipV="1">
              <a:off x="755576" y="4581128"/>
              <a:ext cx="144016" cy="1080120"/>
            </a:xfrm>
            <a:prstGeom prst="bentConnector3">
              <a:avLst>
                <a:gd name="adj1" fmla="val -64435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winkelte Verbindung 41"/>
            <p:cNvCxnSpPr>
              <a:stCxn id="10" idx="1"/>
              <a:endCxn id="34" idx="1"/>
            </p:cNvCxnSpPr>
            <p:nvPr/>
          </p:nvCxnSpPr>
          <p:spPr>
            <a:xfrm rot="10800000" flipH="1" flipV="1">
              <a:off x="755576" y="4581128"/>
              <a:ext cx="144016" cy="1584176"/>
            </a:xfrm>
            <a:prstGeom prst="bentConnector3">
              <a:avLst>
                <a:gd name="adj1" fmla="val -64435"/>
              </a:avLst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9" name="Grafik 48" descr="map-rdbc.png"/>
          <p:cNvPicPr>
            <a:picLocks noChangeAspect="1"/>
          </p:cNvPicPr>
          <p:nvPr/>
        </p:nvPicPr>
        <p:blipFill>
          <a:blip r:embed="rId23" cstate="print"/>
          <a:stretch>
            <a:fillRect/>
          </a:stretch>
        </p:blipFill>
        <p:spPr>
          <a:xfrm>
            <a:off x="4932040" y="3789040"/>
            <a:ext cx="672073" cy="118601"/>
          </a:xfrm>
          <a:prstGeom prst="rect">
            <a:avLst/>
          </a:prstGeom>
        </p:spPr>
      </p:pic>
      <p:pic>
        <p:nvPicPr>
          <p:cNvPr id="50" name="Grafik 49" descr="map-rdbc.png"/>
          <p:cNvPicPr>
            <a:picLocks noChangeAspect="1"/>
          </p:cNvPicPr>
          <p:nvPr/>
        </p:nvPicPr>
        <p:blipFill>
          <a:blip r:embed="rId23" cstate="print"/>
          <a:stretch>
            <a:fillRect/>
          </a:stretch>
        </p:blipFill>
        <p:spPr>
          <a:xfrm>
            <a:off x="2699792" y="6021288"/>
            <a:ext cx="672073" cy="118601"/>
          </a:xfrm>
          <a:prstGeom prst="rect">
            <a:avLst/>
          </a:prstGeom>
        </p:spPr>
      </p:pic>
      <p:pic>
        <p:nvPicPr>
          <p:cNvPr id="51" name="Grafik 50" descr="map-rdbc.png"/>
          <p:cNvPicPr>
            <a:picLocks noChangeAspect="1"/>
          </p:cNvPicPr>
          <p:nvPr/>
        </p:nvPicPr>
        <p:blipFill>
          <a:blip r:embed="rId23" cstate="print"/>
          <a:stretch>
            <a:fillRect/>
          </a:stretch>
        </p:blipFill>
        <p:spPr>
          <a:xfrm>
            <a:off x="3419872" y="5614655"/>
            <a:ext cx="672073" cy="118601"/>
          </a:xfrm>
          <a:prstGeom prst="rect">
            <a:avLst/>
          </a:prstGeom>
        </p:spPr>
      </p:pic>
      <p:pic>
        <p:nvPicPr>
          <p:cNvPr id="52" name="Grafik 51" descr="map-rdbc.png"/>
          <p:cNvPicPr>
            <a:picLocks noChangeAspect="1"/>
          </p:cNvPicPr>
          <p:nvPr/>
        </p:nvPicPr>
        <p:blipFill>
          <a:blip r:embed="rId23" cstate="print"/>
          <a:stretch>
            <a:fillRect/>
          </a:stretch>
        </p:blipFill>
        <p:spPr>
          <a:xfrm>
            <a:off x="4283968" y="4894575"/>
            <a:ext cx="672073" cy="11860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Objekt 10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" name="think-cell Slide" r:id="rId50" imgW="360" imgH="360" progId="TCLayout.ActiveDocument.1">
                  <p:embed/>
                </p:oleObj>
              </mc:Choice>
              <mc:Fallback>
                <p:oleObj name="think-cell Slide" r:id="rId50" imgW="360" imgH="36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" name="Rechteck 10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2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dirty="0" smtClean="0"/>
              <a:t>Shembull - Menaxhimi i rrezikut</a:t>
            </a:r>
            <a:endParaRPr lang="sq-AL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6042D9F6-4E0E-41D8-BC1F-BF1CE87366CF}" type="slidenum">
              <a:rPr lang="it-IT" smtClean="0"/>
              <a:pPr>
                <a:defRPr/>
              </a:pPr>
              <a:t>16</a:t>
            </a:fld>
            <a:endParaRPr lang="sq-AL"/>
          </a:p>
        </p:txBody>
      </p:sp>
      <p:grpSp>
        <p:nvGrpSpPr>
          <p:cNvPr id="43" name="Gruppieren 42"/>
          <p:cNvGrpSpPr/>
          <p:nvPr>
            <p:custDataLst>
              <p:tags r:id="rId6"/>
            </p:custDataLst>
          </p:nvPr>
        </p:nvGrpSpPr>
        <p:grpSpPr>
          <a:xfrm>
            <a:off x="8316416" y="476672"/>
            <a:ext cx="576064" cy="504056"/>
            <a:chOff x="755576" y="1196752"/>
            <a:chExt cx="5040560" cy="5112568"/>
          </a:xfrm>
        </p:grpSpPr>
        <p:sp>
          <p:nvSpPr>
            <p:cNvPr id="44" name="Rechteck 43"/>
            <p:cNvSpPr/>
            <p:nvPr/>
          </p:nvSpPr>
          <p:spPr>
            <a:xfrm>
              <a:off x="2483768" y="1196752"/>
              <a:ext cx="1584176" cy="36004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45" name="Rechteck 44"/>
            <p:cNvSpPr/>
            <p:nvPr/>
          </p:nvSpPr>
          <p:spPr>
            <a:xfrm>
              <a:off x="755576" y="1844824"/>
              <a:ext cx="1152128" cy="36004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46" name="Rechteck 45"/>
            <p:cNvSpPr/>
            <p:nvPr/>
          </p:nvSpPr>
          <p:spPr>
            <a:xfrm>
              <a:off x="4644008" y="1844824"/>
              <a:ext cx="1152128" cy="36004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47" name="Rechteck 46"/>
            <p:cNvSpPr/>
            <p:nvPr/>
          </p:nvSpPr>
          <p:spPr>
            <a:xfrm>
              <a:off x="755576" y="2348880"/>
              <a:ext cx="1152128" cy="28803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48" name="Rechteck 47"/>
            <p:cNvSpPr/>
            <p:nvPr/>
          </p:nvSpPr>
          <p:spPr>
            <a:xfrm>
              <a:off x="755576" y="443711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49" name="Rechteck 48"/>
            <p:cNvSpPr/>
            <p:nvPr/>
          </p:nvSpPr>
          <p:spPr>
            <a:xfrm>
              <a:off x="4644008" y="249289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50" name="Rechteck 49"/>
            <p:cNvSpPr/>
            <p:nvPr/>
          </p:nvSpPr>
          <p:spPr>
            <a:xfrm>
              <a:off x="4644008" y="285293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51" name="Rechteck 50"/>
            <p:cNvSpPr/>
            <p:nvPr/>
          </p:nvSpPr>
          <p:spPr>
            <a:xfrm>
              <a:off x="2699792" y="1844824"/>
              <a:ext cx="1152128" cy="36004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52" name="Rechteck 51"/>
            <p:cNvSpPr/>
            <p:nvPr/>
          </p:nvSpPr>
          <p:spPr>
            <a:xfrm>
              <a:off x="2699792" y="321297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53" name="Rechteck 52"/>
            <p:cNvSpPr/>
            <p:nvPr/>
          </p:nvSpPr>
          <p:spPr>
            <a:xfrm>
              <a:off x="2699792" y="285293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54" name="Rechteck 53"/>
            <p:cNvSpPr/>
            <p:nvPr/>
          </p:nvSpPr>
          <p:spPr>
            <a:xfrm>
              <a:off x="2699792" y="249289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cxnSp>
          <p:nvCxnSpPr>
            <p:cNvPr id="55" name="Gerade Verbindung 54"/>
            <p:cNvCxnSpPr>
              <a:stCxn id="44" idx="2"/>
              <a:endCxn id="51" idx="0"/>
            </p:cNvCxnSpPr>
            <p:nvPr/>
          </p:nvCxnSpPr>
          <p:spPr>
            <a:xfrm>
              <a:off x="3275856" y="1556792"/>
              <a:ext cx="0" cy="28803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Form 35"/>
            <p:cNvCxnSpPr>
              <a:stCxn id="44" idx="2"/>
              <a:endCxn id="45" idx="0"/>
            </p:cNvCxnSpPr>
            <p:nvPr/>
          </p:nvCxnSpPr>
          <p:spPr>
            <a:xfrm rot="5400000">
              <a:off x="2159732" y="728700"/>
              <a:ext cx="288032" cy="1944216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winkelte Verbindung 56"/>
            <p:cNvCxnSpPr>
              <a:stCxn id="44" idx="2"/>
              <a:endCxn id="46" idx="0"/>
            </p:cNvCxnSpPr>
            <p:nvPr/>
          </p:nvCxnSpPr>
          <p:spPr>
            <a:xfrm rot="16200000" flipH="1">
              <a:off x="4103948" y="728700"/>
              <a:ext cx="288032" cy="1944216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winkelte Verbindung 57"/>
            <p:cNvCxnSpPr>
              <a:stCxn id="51" idx="1"/>
              <a:endCxn id="54" idx="1"/>
            </p:cNvCxnSpPr>
            <p:nvPr/>
          </p:nvCxnSpPr>
          <p:spPr>
            <a:xfrm rot="10800000" flipV="1">
              <a:off x="2699792" y="2024844"/>
              <a:ext cx="12700" cy="61206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winkelte Verbindung 58"/>
            <p:cNvCxnSpPr>
              <a:stCxn id="51" idx="1"/>
              <a:endCxn id="53" idx="1"/>
            </p:cNvCxnSpPr>
            <p:nvPr/>
          </p:nvCxnSpPr>
          <p:spPr>
            <a:xfrm rot="10800000" flipV="1">
              <a:off x="2699792" y="2024844"/>
              <a:ext cx="12700" cy="97210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winkelte Verbindung 59"/>
            <p:cNvCxnSpPr>
              <a:stCxn id="51" idx="1"/>
              <a:endCxn id="52" idx="1"/>
            </p:cNvCxnSpPr>
            <p:nvPr/>
          </p:nvCxnSpPr>
          <p:spPr>
            <a:xfrm rot="10800000" flipV="1">
              <a:off x="2699792" y="2024844"/>
              <a:ext cx="12700" cy="133214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winkelte Verbindung 60"/>
            <p:cNvCxnSpPr>
              <a:stCxn id="45" idx="1"/>
              <a:endCxn id="47" idx="1"/>
            </p:cNvCxnSpPr>
            <p:nvPr/>
          </p:nvCxnSpPr>
          <p:spPr>
            <a:xfrm rot="10800000" flipV="1">
              <a:off x="755576" y="2024844"/>
              <a:ext cx="12700" cy="468052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winkelte Verbindung 61"/>
            <p:cNvCxnSpPr>
              <a:stCxn id="45" idx="1"/>
              <a:endCxn id="48" idx="1"/>
            </p:cNvCxnSpPr>
            <p:nvPr/>
          </p:nvCxnSpPr>
          <p:spPr>
            <a:xfrm rot="10800000" flipV="1">
              <a:off x="755576" y="2024844"/>
              <a:ext cx="12700" cy="2556284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winkelte Verbindung 62"/>
            <p:cNvCxnSpPr>
              <a:stCxn id="46" idx="1"/>
              <a:endCxn id="49" idx="1"/>
            </p:cNvCxnSpPr>
            <p:nvPr/>
          </p:nvCxnSpPr>
          <p:spPr>
            <a:xfrm rot="10800000" flipV="1">
              <a:off x="4644008" y="2024844"/>
              <a:ext cx="12700" cy="61206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winkelte Verbindung 63"/>
            <p:cNvCxnSpPr>
              <a:stCxn id="46" idx="1"/>
              <a:endCxn id="50" idx="1"/>
            </p:cNvCxnSpPr>
            <p:nvPr/>
          </p:nvCxnSpPr>
          <p:spPr>
            <a:xfrm rot="10800000" flipV="1">
              <a:off x="4644008" y="2024844"/>
              <a:ext cx="12700" cy="97210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Rechteck 64"/>
            <p:cNvSpPr/>
            <p:nvPr/>
          </p:nvSpPr>
          <p:spPr>
            <a:xfrm>
              <a:off x="899592" y="270892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66" name="Rechteck 65"/>
            <p:cNvSpPr/>
            <p:nvPr/>
          </p:nvSpPr>
          <p:spPr>
            <a:xfrm>
              <a:off x="899592" y="306896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67" name="Rechteck 66"/>
            <p:cNvSpPr/>
            <p:nvPr/>
          </p:nvSpPr>
          <p:spPr>
            <a:xfrm>
              <a:off x="899592" y="342900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68" name="Rechteck 67"/>
            <p:cNvSpPr/>
            <p:nvPr/>
          </p:nvSpPr>
          <p:spPr>
            <a:xfrm>
              <a:off x="899592" y="393305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69" name="Rechteck 68"/>
            <p:cNvSpPr/>
            <p:nvPr/>
          </p:nvSpPr>
          <p:spPr>
            <a:xfrm>
              <a:off x="899592" y="479715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70" name="Rechteck 69"/>
            <p:cNvSpPr/>
            <p:nvPr/>
          </p:nvSpPr>
          <p:spPr>
            <a:xfrm>
              <a:off x="899592" y="515719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71" name="Rechteck 70"/>
            <p:cNvSpPr/>
            <p:nvPr/>
          </p:nvSpPr>
          <p:spPr>
            <a:xfrm>
              <a:off x="899592" y="551723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72" name="Rechteck 71"/>
            <p:cNvSpPr/>
            <p:nvPr/>
          </p:nvSpPr>
          <p:spPr>
            <a:xfrm>
              <a:off x="899592" y="6021288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cxnSp>
          <p:nvCxnSpPr>
            <p:cNvPr id="73" name="Gewinkelte Verbindung 72"/>
            <p:cNvCxnSpPr>
              <a:stCxn id="47" idx="1"/>
              <a:endCxn id="65" idx="1"/>
            </p:cNvCxnSpPr>
            <p:nvPr/>
          </p:nvCxnSpPr>
          <p:spPr>
            <a:xfrm rot="10800000" flipH="1" flipV="1">
              <a:off x="755576" y="2492896"/>
              <a:ext cx="144016" cy="360040"/>
            </a:xfrm>
            <a:prstGeom prst="bentConnector3">
              <a:avLst>
                <a:gd name="adj1" fmla="val -64668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winkelte Verbindung 73"/>
            <p:cNvCxnSpPr>
              <a:stCxn id="47" idx="1"/>
              <a:endCxn id="66" idx="1"/>
            </p:cNvCxnSpPr>
            <p:nvPr/>
          </p:nvCxnSpPr>
          <p:spPr>
            <a:xfrm rot="10800000" flipH="1" flipV="1">
              <a:off x="755576" y="2492896"/>
              <a:ext cx="144016" cy="720080"/>
            </a:xfrm>
            <a:prstGeom prst="bentConnector3">
              <a:avLst>
                <a:gd name="adj1" fmla="val -64669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winkelte Verbindung 74"/>
            <p:cNvCxnSpPr>
              <a:stCxn id="47" idx="1"/>
              <a:endCxn id="67" idx="1"/>
            </p:cNvCxnSpPr>
            <p:nvPr/>
          </p:nvCxnSpPr>
          <p:spPr>
            <a:xfrm rot="10800000" flipH="1" flipV="1">
              <a:off x="755576" y="2492896"/>
              <a:ext cx="144016" cy="1080120"/>
            </a:xfrm>
            <a:prstGeom prst="bentConnector3">
              <a:avLst>
                <a:gd name="adj1" fmla="val -64669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winkelte Verbindung 75"/>
            <p:cNvCxnSpPr>
              <a:stCxn id="47" idx="1"/>
              <a:endCxn id="68" idx="1"/>
            </p:cNvCxnSpPr>
            <p:nvPr/>
          </p:nvCxnSpPr>
          <p:spPr>
            <a:xfrm rot="10800000" flipH="1" flipV="1">
              <a:off x="755576" y="2492896"/>
              <a:ext cx="144016" cy="1584176"/>
            </a:xfrm>
            <a:prstGeom prst="bentConnector3">
              <a:avLst>
                <a:gd name="adj1" fmla="val -64669"/>
              </a:avLst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winkelte Verbindung 76"/>
            <p:cNvCxnSpPr>
              <a:stCxn id="48" idx="1"/>
              <a:endCxn id="69" idx="1"/>
            </p:cNvCxnSpPr>
            <p:nvPr/>
          </p:nvCxnSpPr>
          <p:spPr>
            <a:xfrm rot="10800000" flipH="1" flipV="1">
              <a:off x="755576" y="4581128"/>
              <a:ext cx="144016" cy="360040"/>
            </a:xfrm>
            <a:prstGeom prst="bentConnector3">
              <a:avLst>
                <a:gd name="adj1" fmla="val -61118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Form 88"/>
            <p:cNvCxnSpPr>
              <a:stCxn id="48" idx="1"/>
              <a:endCxn id="70" idx="1"/>
            </p:cNvCxnSpPr>
            <p:nvPr/>
          </p:nvCxnSpPr>
          <p:spPr>
            <a:xfrm rot="10800000" flipH="1" flipV="1">
              <a:off x="755576" y="4581128"/>
              <a:ext cx="144016" cy="720080"/>
            </a:xfrm>
            <a:prstGeom prst="bentConnector3">
              <a:avLst>
                <a:gd name="adj1" fmla="val -63853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Form 90"/>
            <p:cNvCxnSpPr>
              <a:stCxn id="48" idx="1"/>
              <a:endCxn id="71" idx="1"/>
            </p:cNvCxnSpPr>
            <p:nvPr/>
          </p:nvCxnSpPr>
          <p:spPr>
            <a:xfrm rot="10800000" flipH="1" flipV="1">
              <a:off x="755576" y="4581128"/>
              <a:ext cx="144016" cy="1080120"/>
            </a:xfrm>
            <a:prstGeom prst="bentConnector3">
              <a:avLst>
                <a:gd name="adj1" fmla="val -64435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winkelte Verbindung 79"/>
            <p:cNvCxnSpPr>
              <a:stCxn id="48" idx="1"/>
              <a:endCxn id="72" idx="1"/>
            </p:cNvCxnSpPr>
            <p:nvPr/>
          </p:nvCxnSpPr>
          <p:spPr>
            <a:xfrm rot="10800000" flipH="1" flipV="1">
              <a:off x="755576" y="4581128"/>
              <a:ext cx="144016" cy="1584176"/>
            </a:xfrm>
            <a:prstGeom prst="bentConnector3">
              <a:avLst>
                <a:gd name="adj1" fmla="val -64435"/>
              </a:avLst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" name="Gruppieren 101"/>
          <p:cNvGrpSpPr/>
          <p:nvPr>
            <p:custDataLst>
              <p:tags r:id="rId7"/>
            </p:custDataLst>
          </p:nvPr>
        </p:nvGrpSpPr>
        <p:grpSpPr>
          <a:xfrm>
            <a:off x="1043608" y="5005536"/>
            <a:ext cx="7010400" cy="1447800"/>
            <a:chOff x="562348" y="3802930"/>
            <a:chExt cx="7010400" cy="1447800"/>
          </a:xfrm>
        </p:grpSpPr>
        <p:sp>
          <p:nvSpPr>
            <p:cNvPr id="81" name="Rectangle 30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562348" y="3802930"/>
              <a:ext cx="7010400" cy="14478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prstDash val="solid"/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/>
            <a:p>
              <a:pPr>
                <a:buClrTx/>
                <a:buFontTx/>
                <a:buNone/>
              </a:pPr>
              <a:endParaRPr lang="en-US" sz="3200" b="0" dirty="0"/>
            </a:p>
          </p:txBody>
        </p:sp>
        <p:sp>
          <p:nvSpPr>
            <p:cNvPr id="82" name="AutoShape 15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687760" y="4245843"/>
              <a:ext cx="1644650" cy="519112"/>
            </a:xfrm>
            <a:prstGeom prst="chevron">
              <a:avLst>
                <a:gd name="adj" fmla="val 54358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>
                <a:spcBef>
                  <a:spcPct val="45000"/>
                </a:spcBef>
                <a:buClr>
                  <a:schemeClr val="tx1"/>
                </a:buClr>
                <a:buFont typeface="Webdings" pitchFamily="18" charset="2"/>
                <a:buNone/>
              </a:pPr>
              <a:r>
                <a:rPr lang="en-US" sz="1200" b="0" dirty="0"/>
                <a:t>Përcaktimi i</a:t>
              </a:r>
              <a:r>
                <a:t/>
              </a:r>
              <a:br/>
              <a:r>
                <a:rPr lang="en-US" sz="1200" b="0" dirty="0"/>
                <a:t>kontekstit</a:t>
              </a:r>
            </a:p>
          </p:txBody>
        </p:sp>
        <p:sp>
          <p:nvSpPr>
            <p:cNvPr id="83" name="AutoShape 16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1979985" y="4245843"/>
              <a:ext cx="1644650" cy="519112"/>
            </a:xfrm>
            <a:prstGeom prst="chevron">
              <a:avLst>
                <a:gd name="adj" fmla="val 54358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>
                <a:spcBef>
                  <a:spcPct val="45000"/>
                </a:spcBef>
                <a:buClr>
                  <a:schemeClr val="tx1"/>
                </a:buClr>
                <a:buFont typeface="Webdings" pitchFamily="18" charset="2"/>
                <a:buNone/>
              </a:pPr>
              <a:r>
                <a:rPr lang="en-US" sz="1200" b="0" dirty="0"/>
                <a:t>Identifikimi i</a:t>
              </a:r>
              <a:r>
                <a:t/>
              </a:r>
              <a:br/>
              <a:r>
                <a:rPr lang="en-US" sz="1200" b="0" dirty="0"/>
                <a:t>rreziqeve</a:t>
              </a:r>
            </a:p>
          </p:txBody>
        </p:sp>
        <p:sp>
          <p:nvSpPr>
            <p:cNvPr id="84" name="AutoShape 17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3270623" y="4245843"/>
              <a:ext cx="1644650" cy="519112"/>
            </a:xfrm>
            <a:prstGeom prst="chevron">
              <a:avLst>
                <a:gd name="adj" fmla="val 54358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>
                <a:spcBef>
                  <a:spcPct val="45000"/>
                </a:spcBef>
                <a:buClr>
                  <a:schemeClr val="tx1"/>
                </a:buClr>
                <a:buFont typeface="Webdings" pitchFamily="18" charset="2"/>
                <a:buNone/>
              </a:pPr>
              <a:r>
                <a:rPr lang="en-US" sz="1200" b="0" dirty="0"/>
                <a:t>Analiza e</a:t>
              </a:r>
              <a:r>
                <a:t/>
              </a:r>
              <a:br/>
              <a:r>
                <a:rPr lang="en-US" sz="1200" b="0" dirty="0"/>
                <a:t>rreziqeve</a:t>
              </a:r>
            </a:p>
          </p:txBody>
        </p:sp>
        <p:sp>
          <p:nvSpPr>
            <p:cNvPr id="85" name="AutoShape 18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4562848" y="4245843"/>
              <a:ext cx="1644650" cy="519112"/>
            </a:xfrm>
            <a:prstGeom prst="chevron">
              <a:avLst>
                <a:gd name="adj" fmla="val 54358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>
                <a:spcBef>
                  <a:spcPct val="45000"/>
                </a:spcBef>
                <a:buClr>
                  <a:schemeClr val="tx1"/>
                </a:buClr>
                <a:buFont typeface="Webdings" pitchFamily="18" charset="2"/>
                <a:buNone/>
              </a:pPr>
              <a:r>
                <a:rPr lang="en-US" sz="1000" b="0" dirty="0"/>
                <a:t>Vlerësimi dhe</a:t>
              </a:r>
              <a:r>
                <a:rPr sz="1000" dirty="0"/>
                <a:t/>
              </a:r>
              <a:br>
                <a:rPr sz="1000" dirty="0"/>
              </a:br>
              <a:r>
                <a:rPr lang="en-US" sz="1000" b="0" dirty="0"/>
                <a:t>përcaktimi i prioriteteve për rreziqet</a:t>
              </a:r>
            </a:p>
          </p:txBody>
        </p:sp>
        <p:sp>
          <p:nvSpPr>
            <p:cNvPr id="86" name="AutoShape 19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5853485" y="4245843"/>
              <a:ext cx="1644650" cy="519112"/>
            </a:xfrm>
            <a:prstGeom prst="chevron">
              <a:avLst>
                <a:gd name="adj" fmla="val 54358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>
                <a:spcBef>
                  <a:spcPct val="45000"/>
                </a:spcBef>
                <a:buClr>
                  <a:schemeClr val="tx1"/>
                </a:buClr>
                <a:buFont typeface="Webdings" pitchFamily="18" charset="2"/>
                <a:buNone/>
              </a:pPr>
              <a:r>
                <a:rPr lang="en-US" sz="1200" b="0" dirty="0"/>
                <a:t>Trajtimi i</a:t>
              </a:r>
              <a:r>
                <a:t/>
              </a:r>
              <a:br/>
              <a:r>
                <a:rPr lang="en-US" sz="1200" b="0" dirty="0"/>
                <a:t>rreziqeve</a:t>
              </a:r>
            </a:p>
          </p:txBody>
        </p:sp>
        <p:sp>
          <p:nvSpPr>
            <p:cNvPr id="87" name="Rectangle 20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611560" y="3885480"/>
              <a:ext cx="6856413" cy="19367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19050" tIns="19050" rIns="19050" bIns="19050" anchor="ctr" anchorCtr="1"/>
            <a:lstStyle/>
            <a:p>
              <a:pPr>
                <a:buClrTx/>
                <a:buFontTx/>
                <a:buNone/>
              </a:pPr>
              <a:r>
                <a:rPr lang="en-US" sz="1000" dirty="0"/>
                <a:t>Monitorimi dhe shqyrtimi</a:t>
              </a:r>
            </a:p>
          </p:txBody>
        </p:sp>
        <p:sp>
          <p:nvSpPr>
            <p:cNvPr id="88" name="Rectangle 21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611560" y="4941168"/>
              <a:ext cx="6856413" cy="20478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19050" tIns="19050" rIns="19050" bIns="19050" anchor="ctr" anchorCtr="1"/>
            <a:lstStyle/>
            <a:p>
              <a:pPr>
                <a:buClrTx/>
                <a:buFontTx/>
                <a:buNone/>
              </a:pPr>
              <a:r>
                <a:rPr lang="en-US" sz="1000" dirty="0" smtClean="0"/>
                <a:t>Dokumentimi, komunikimi dhe konsultimi</a:t>
              </a:r>
              <a:endParaRPr lang="sq-AL" sz="1000" dirty="0"/>
            </a:p>
          </p:txBody>
        </p:sp>
        <p:sp>
          <p:nvSpPr>
            <p:cNvPr id="89" name="Line 22"/>
            <p:cNvSpPr>
              <a:spLocks noChangeShapeType="1"/>
            </p:cNvSpPr>
            <p:nvPr>
              <p:custDataLst>
                <p:tags r:id="rId36"/>
              </p:custDataLst>
            </p:nvPr>
          </p:nvSpPr>
          <p:spPr bwMode="auto">
            <a:xfrm>
              <a:off x="1622798" y="4061693"/>
              <a:ext cx="0" cy="16986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wrap="none" lIns="45720" rIns="45720" anchor="ctr"/>
            <a:lstStyle/>
            <a:p>
              <a:endParaRPr lang="en-US" dirty="0"/>
            </a:p>
          </p:txBody>
        </p:sp>
        <p:sp>
          <p:nvSpPr>
            <p:cNvPr id="90" name="Line 23"/>
            <p:cNvSpPr>
              <a:spLocks noChangeShapeType="1"/>
            </p:cNvSpPr>
            <p:nvPr>
              <p:custDataLst>
                <p:tags r:id="rId37"/>
              </p:custDataLst>
            </p:nvPr>
          </p:nvSpPr>
          <p:spPr bwMode="auto">
            <a:xfrm>
              <a:off x="3135685" y="4061693"/>
              <a:ext cx="0" cy="17621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wrap="none" lIns="45720" rIns="45720" anchor="ctr"/>
            <a:lstStyle/>
            <a:p>
              <a:endParaRPr lang="en-US" dirty="0"/>
            </a:p>
          </p:txBody>
        </p:sp>
        <p:sp>
          <p:nvSpPr>
            <p:cNvPr id="91" name="Line 24"/>
            <p:cNvSpPr>
              <a:spLocks noChangeShapeType="1"/>
            </p:cNvSpPr>
            <p:nvPr>
              <p:custDataLst>
                <p:tags r:id="rId38"/>
              </p:custDataLst>
            </p:nvPr>
          </p:nvSpPr>
          <p:spPr bwMode="auto">
            <a:xfrm>
              <a:off x="4958135" y="4061693"/>
              <a:ext cx="0" cy="17621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wrap="none" lIns="45720" rIns="45720" anchor="ctr"/>
            <a:lstStyle/>
            <a:p>
              <a:endParaRPr lang="en-US" dirty="0"/>
            </a:p>
          </p:txBody>
        </p:sp>
        <p:sp>
          <p:nvSpPr>
            <p:cNvPr id="92" name="Line 25"/>
            <p:cNvSpPr>
              <a:spLocks noChangeShapeType="1"/>
            </p:cNvSpPr>
            <p:nvPr>
              <p:custDataLst>
                <p:tags r:id="rId39"/>
              </p:custDataLst>
            </p:nvPr>
          </p:nvSpPr>
          <p:spPr bwMode="auto">
            <a:xfrm>
              <a:off x="6604373" y="4061693"/>
              <a:ext cx="0" cy="17621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wrap="none" lIns="45720" rIns="45720" anchor="ctr"/>
            <a:lstStyle/>
            <a:p>
              <a:endParaRPr lang="en-US" dirty="0"/>
            </a:p>
          </p:txBody>
        </p:sp>
        <p:sp>
          <p:nvSpPr>
            <p:cNvPr id="93" name="Line 26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>
              <a:off x="1610098" y="4764955"/>
              <a:ext cx="0" cy="1524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wrap="none" lIns="45720" rIns="45720" anchor="ctr"/>
            <a:lstStyle/>
            <a:p>
              <a:endParaRPr lang="en-US" dirty="0"/>
            </a:p>
          </p:txBody>
        </p:sp>
        <p:sp>
          <p:nvSpPr>
            <p:cNvPr id="94" name="Line 27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>
              <a:off x="3122985" y="4764955"/>
              <a:ext cx="0" cy="17621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wrap="none" lIns="45720" rIns="45720" anchor="ctr"/>
            <a:lstStyle/>
            <a:p>
              <a:endParaRPr lang="en-US" dirty="0"/>
            </a:p>
          </p:txBody>
        </p:sp>
        <p:sp>
          <p:nvSpPr>
            <p:cNvPr id="95" name="Line 28"/>
            <p:cNvSpPr>
              <a:spLocks noChangeShapeType="1"/>
            </p:cNvSpPr>
            <p:nvPr>
              <p:custDataLst>
                <p:tags r:id="rId42"/>
              </p:custDataLst>
            </p:nvPr>
          </p:nvSpPr>
          <p:spPr bwMode="auto">
            <a:xfrm>
              <a:off x="4945435" y="4764955"/>
              <a:ext cx="0" cy="17621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wrap="none" lIns="45720" rIns="45720" anchor="ctr"/>
            <a:lstStyle/>
            <a:p>
              <a:endParaRPr lang="en-US" dirty="0"/>
            </a:p>
          </p:txBody>
        </p:sp>
        <p:sp>
          <p:nvSpPr>
            <p:cNvPr id="96" name="Line 29"/>
            <p:cNvSpPr>
              <a:spLocks noChangeShapeType="1"/>
            </p:cNvSpPr>
            <p:nvPr>
              <p:custDataLst>
                <p:tags r:id="rId43"/>
              </p:custDataLst>
            </p:nvPr>
          </p:nvSpPr>
          <p:spPr bwMode="auto">
            <a:xfrm>
              <a:off x="6604373" y="4764955"/>
              <a:ext cx="0" cy="17621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</p:spPr>
          <p:txBody>
            <a:bodyPr wrap="none" lIns="45720" rIns="45720" anchor="ctr"/>
            <a:lstStyle/>
            <a:p>
              <a:endParaRPr lang="en-US" dirty="0"/>
            </a:p>
          </p:txBody>
        </p:sp>
        <p:sp>
          <p:nvSpPr>
            <p:cNvPr id="97" name="Oval 33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auto">
            <a:xfrm>
              <a:off x="755576" y="4155355"/>
              <a:ext cx="180000" cy="180000"/>
            </a:xfrm>
            <a:prstGeom prst="ellipse">
              <a:avLst/>
            </a:prstGeom>
            <a:solidFill>
              <a:srgbClr val="FFC000"/>
            </a:solidFill>
            <a:ln w="1905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45720" rIns="45720" anchor="ctr" anchorCtr="1"/>
            <a:lstStyle/>
            <a:p>
              <a:pPr>
                <a:buClrTx/>
                <a:buFontTx/>
                <a:buNone/>
              </a:pPr>
              <a:r>
                <a:rPr lang="en-US" sz="1000" dirty="0"/>
                <a:t>1</a:t>
              </a:r>
            </a:p>
          </p:txBody>
        </p:sp>
        <p:sp>
          <p:nvSpPr>
            <p:cNvPr id="98" name="Oval 34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auto">
            <a:xfrm>
              <a:off x="2051720" y="4155355"/>
              <a:ext cx="180000" cy="180000"/>
            </a:xfrm>
            <a:prstGeom prst="ellipse">
              <a:avLst/>
            </a:prstGeom>
            <a:solidFill>
              <a:srgbClr val="FFC000"/>
            </a:solidFill>
            <a:ln w="1905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45720" rIns="45720" anchor="ctr" anchorCtr="1"/>
            <a:lstStyle/>
            <a:p>
              <a:pPr>
                <a:buClrTx/>
                <a:buFontTx/>
                <a:buNone/>
              </a:pPr>
              <a:r>
                <a:rPr lang="en-US" sz="1000" dirty="0"/>
                <a:t>2</a:t>
              </a:r>
            </a:p>
          </p:txBody>
        </p:sp>
        <p:sp>
          <p:nvSpPr>
            <p:cNvPr id="99" name="Oval 35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auto">
            <a:xfrm>
              <a:off x="3347864" y="4155355"/>
              <a:ext cx="180000" cy="180000"/>
            </a:xfrm>
            <a:prstGeom prst="ellipse">
              <a:avLst/>
            </a:prstGeom>
            <a:solidFill>
              <a:srgbClr val="FFC000"/>
            </a:solidFill>
            <a:ln w="1905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45720" rIns="45720" anchor="ctr" anchorCtr="1"/>
            <a:lstStyle/>
            <a:p>
              <a:pPr>
                <a:buClrTx/>
                <a:buFontTx/>
                <a:buNone/>
              </a:pPr>
              <a:r>
                <a:rPr lang="en-US" sz="1000" dirty="0"/>
                <a:t>3</a:t>
              </a:r>
            </a:p>
          </p:txBody>
        </p:sp>
        <p:sp>
          <p:nvSpPr>
            <p:cNvPr id="100" name="Oval 36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auto">
            <a:xfrm>
              <a:off x="4644008" y="4155355"/>
              <a:ext cx="180000" cy="180000"/>
            </a:xfrm>
            <a:prstGeom prst="ellipse">
              <a:avLst/>
            </a:prstGeom>
            <a:solidFill>
              <a:srgbClr val="FFC000"/>
            </a:solidFill>
            <a:ln w="1905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45720" rIns="45720" anchor="ctr" anchorCtr="1"/>
            <a:lstStyle/>
            <a:p>
              <a:pPr>
                <a:buClrTx/>
                <a:buFontTx/>
                <a:buNone/>
              </a:pPr>
              <a:r>
                <a:rPr lang="en-US" sz="1000" dirty="0"/>
                <a:t>4</a:t>
              </a:r>
            </a:p>
          </p:txBody>
        </p:sp>
        <p:sp>
          <p:nvSpPr>
            <p:cNvPr id="101" name="Oval 37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auto">
            <a:xfrm>
              <a:off x="5940152" y="4155355"/>
              <a:ext cx="180000" cy="180000"/>
            </a:xfrm>
            <a:prstGeom prst="ellipse">
              <a:avLst/>
            </a:prstGeom>
            <a:solidFill>
              <a:srgbClr val="FFC000"/>
            </a:solidFill>
            <a:ln w="19050">
              <a:solidFill>
                <a:schemeClr val="bg2"/>
              </a:solidFill>
              <a:round/>
              <a:headEnd/>
              <a:tailEnd/>
            </a:ln>
            <a:effectLst/>
          </p:spPr>
          <p:txBody>
            <a:bodyPr wrap="none" lIns="45720" rIns="45720" anchor="ctr" anchorCtr="1"/>
            <a:lstStyle/>
            <a:p>
              <a:pPr>
                <a:buClrTx/>
                <a:buFontTx/>
                <a:buNone/>
              </a:pPr>
              <a:r>
                <a:rPr lang="en-US" sz="1000" dirty="0"/>
                <a:t>5</a:t>
              </a:r>
            </a:p>
          </p:txBody>
        </p:sp>
      </p:grpSp>
      <p:graphicFrame>
        <p:nvGraphicFramePr>
          <p:cNvPr id="105" name="Objekt 104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4510087" y="2000250"/>
          <a:ext cx="3695890" cy="24477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" name="Diagramm" r:id="rId52" imgW="3695890" imgH="2447734" progId="MSGraph.Chart.8">
                  <p:embed followColorScheme="full"/>
                </p:oleObj>
              </mc:Choice>
              <mc:Fallback>
                <p:oleObj name="Diagramm" r:id="rId52" imgW="3695890" imgH="2447734" progId="MSGraph.Chart.8">
                  <p:embed followColorScheme="full"/>
                  <p:pic>
                    <p:nvPicPr>
                      <p:cNvPr id="0" name="Picture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10087" y="2000250"/>
                        <a:ext cx="3695890" cy="24477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9" name="Gerade Verbindung 138"/>
          <p:cNvCxnSpPr/>
          <p:nvPr>
            <p:custDataLst>
              <p:tags r:id="rId9"/>
            </p:custDataLst>
          </p:nvPr>
        </p:nvCxnSpPr>
        <p:spPr bwMode="auto">
          <a:xfrm flipH="1" flipV="1">
            <a:off x="8139112" y="2466975"/>
            <a:ext cx="57150" cy="128588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Segnaposto testo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624387" y="1870075"/>
            <a:ext cx="763587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en-US" sz="1200" dirty="0" smtClean="0">
                <a:solidFill>
                  <a:schemeClr val="tx1"/>
                </a:solidFill>
                <a:latin typeface="TitilliumText14L"/>
                <a:sym typeface="TitilliumText14L"/>
              </a:rPr>
              <a:t>1999 = 100</a:t>
            </a:r>
          </a:p>
        </p:txBody>
      </p:sp>
      <p:sp>
        <p:nvSpPr>
          <p:cNvPr id="107" name="Segnaposto testo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221662" y="2505075"/>
            <a:ext cx="515937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4BA157FB-3733-439F-8AE7-CEC4748AD086}" type="datetime'''Ex''''''''p''''or''''''''''''t''''''''''''s'''''''''">
              <a:rPr lang="en-US" sz="1200" b="0" smtClean="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buNone/>
              </a:pPr>
              <a:t>Exports</a:t>
            </a:fld>
            <a:endParaRPr lang="sq-AL" sz="1200" b="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06" name="Segnaposto testo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221662" y="2041525"/>
            <a:ext cx="508000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1E19F160-E11E-4FCF-8918-7CE5635B2492}" type="datetime'''''''''''''I''m''p''o''''''''''''''''''''r''t''s'''''''''''">
              <a:rPr lang="en-US" sz="1200" b="0" smtClean="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buNone/>
              </a:pPr>
              <a:t>Imports</a:t>
            </a:fld>
            <a:endParaRPr lang="sq-AL" sz="1200" b="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43" name="Segnaposto testo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999162" y="4349750"/>
            <a:ext cx="336550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3C9D576-4D60-4AB2-AEED-ECC7C619B872}" type="datetime'''2''''0''''''''''''''''''''02'''''''''''''''''">
              <a:rPr lang="en-US" sz="1200" b="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2002</a:t>
            </a:fld>
            <a:endParaRPr lang="sq-AL" sz="1200" b="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42" name="Segnaposto testo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608637" y="4349750"/>
            <a:ext cx="336550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06364E6-18FE-45FE-9D03-EBB9601FD5F2}" type="datetime'2''0''''''''''''''''''''''0''''''''''1'''''">
              <a:rPr lang="en-US" sz="1200" b="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2001</a:t>
            </a:fld>
            <a:endParaRPr lang="sq-AL" sz="1200" b="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44" name="Segnaposto testo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389687" y="4349750"/>
            <a:ext cx="336550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1E22F2C-BB07-449A-B6C0-78012149E327}" type="datetime'''''2''''''''''''''''''''''''''''0''0''''3'''''''">
              <a:rPr lang="en-US" sz="1200" b="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2003</a:t>
            </a:fld>
            <a:endParaRPr lang="sq-AL" sz="1200" b="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46" name="Segnaposto testo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161212" y="4349750"/>
            <a:ext cx="336550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8F0ECDD-1B27-4C73-AFE6-0B43C212BED3}" type="datetime'''''''''''2''''''''''0''0''''5'''''''">
              <a:rPr lang="en-US" sz="1200" b="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2005</a:t>
            </a:fld>
            <a:endParaRPr lang="sq-AL" sz="1200" b="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18" name="Segnaposto testo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221662" y="3519487"/>
            <a:ext cx="3143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868D84CF-0189-4C1C-A1C9-0C236F73C51F}" type="datetime'''St''''''''''''''''''a''f''f'''''''">
              <a:rPr lang="en-US" sz="1200" b="0" smtClean="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buNone/>
              </a:pPr>
              <a:t>Staff</a:t>
            </a:fld>
            <a:endParaRPr lang="sq-AL" sz="1200" b="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48" name="Segnaposto testo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932737" y="4349750"/>
            <a:ext cx="336550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53D9E68-9BE2-4D5E-8F1C-01A85641F92E}" type="datetime'''''''''''''''''''''''2''''''''''0''''''''''''''''0''7'''">
              <a:rPr lang="en-US" sz="1200" b="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2007</a:t>
            </a:fld>
            <a:endParaRPr lang="sq-AL" sz="1200" b="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41" name="Segnaposto testo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227637" y="4349750"/>
            <a:ext cx="336550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0265E05-A5FD-4FC8-A807-3FBA307BCA30}" type="datetime'2''''0''''''''''''''''''''''''''''''''''0''0'''''''''''">
              <a:rPr lang="en-US" sz="1200" b="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2000</a:t>
            </a:fld>
            <a:endParaRPr lang="sq-AL" sz="1200" b="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40" name="Segnaposto testo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837112" y="4349750"/>
            <a:ext cx="336550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7D7C2F3-D441-4938-9166-BE0C31A17EBF}" type="datetime'''''''1''9''''''9''''''''''''''9'''''''''''''''''''">
              <a:rPr lang="en-US" sz="1200" b="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1999</a:t>
            </a:fld>
            <a:endParaRPr lang="sq-AL" sz="1200" b="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47" name="Segnaposto testo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542212" y="4349750"/>
            <a:ext cx="336550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936DA72-3EF1-496F-B350-A48C8744C7AF}" type="datetime'''''2''0''''''''''''''''0''''''''6'''''''''''''''">
              <a:rPr lang="en-US" sz="1200" b="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2006</a:t>
            </a:fld>
            <a:endParaRPr lang="sq-AL" sz="1200" b="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45" name="Segnaposto testo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770687" y="4349750"/>
            <a:ext cx="336550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5049B55-F265-4C2E-BF84-0AF18D821DA4}" type="datetime'''2''''''''''0''''''''04'''''''''''''''''''''''''">
              <a:rPr lang="en-US" sz="1200" b="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2004</a:t>
            </a:fld>
            <a:endParaRPr lang="sq-AL" sz="1200" b="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35" name="Segnaposto testo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8221662" y="2273300"/>
            <a:ext cx="606425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37F2DD7C-8F34-409F-ACD9-8580282F9409}" type="datetime'''''''R''''ev''e''''nu''''''''''''''e'''''">
              <a:rPr lang="en-US" sz="1200" b="0" smtClean="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buNone/>
              </a:pPr>
              <a:t>Revenue</a:t>
            </a:fld>
            <a:endParaRPr lang="sq-AL" sz="1200" b="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22" name="Rectangle 15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518418" y="1714772"/>
            <a:ext cx="3477518" cy="3524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anchor="ctr"/>
          <a:lstStyle/>
          <a:p>
            <a:pPr algn="ctr">
              <a:spcAft>
                <a:spcPts val="200"/>
              </a:spcAft>
              <a:buClr>
                <a:schemeClr val="tx1"/>
              </a:buClr>
            </a:pPr>
            <a:r>
              <a:rPr lang="en-US" sz="1400" b="1" dirty="0" smtClean="0">
                <a:solidFill>
                  <a:srgbClr val="FFFFFF"/>
                </a:solidFill>
              </a:rPr>
              <a:t>Shpjegim</a:t>
            </a:r>
            <a:endParaRPr lang="sq-AL" sz="1400" b="1" dirty="0">
              <a:solidFill>
                <a:srgbClr val="FFFFFF"/>
              </a:solidFill>
            </a:endParaRPr>
          </a:p>
        </p:txBody>
      </p:sp>
      <p:sp>
        <p:nvSpPr>
          <p:cNvPr id="123" name="Rectangle 16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518418" y="2060848"/>
            <a:ext cx="3477518" cy="244827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marL="179388" indent="-179388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100" dirty="0" smtClean="0"/>
              <a:t>Përmirësimet e kapaciteteve të vlerësimit të rrezikut të doganave në Japoni që nga viti 1999 i kanë ndihmuar doganat që të ruajnë numrin e personelit pothuajse në nivele të pandryshuara që nga viti 1999 ndërsa numri i transaksioneve të importit u rrit me pothuajse 60% (2007) dhe transaksionet e eksportit u rritën me rreth 50% (2007) (Burimi: Konspekti i OBD-së për menaxhimin e rrezikut)</a:t>
            </a:r>
            <a:endParaRPr lang="sq-AL" sz="1100" dirty="0" smtClean="0"/>
          </a:p>
          <a:p>
            <a:pPr marL="179388" indent="-179388">
              <a:buClr>
                <a:schemeClr val="tx1"/>
              </a:buClr>
              <a:buFont typeface="Wingdings" pitchFamily="2" charset="2"/>
              <a:buChar char="§"/>
            </a:pPr>
            <a:endParaRPr lang="sq-AL" sz="1100" dirty="0" smtClean="0"/>
          </a:p>
          <a:p>
            <a:pPr marL="179388" indent="-179388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100" dirty="0" smtClean="0"/>
              <a:t>Për më shumë informacion:</a:t>
            </a:r>
          </a:p>
          <a:p>
            <a:pPr marL="636588" lvl="1" indent="-179388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100" dirty="0" smtClean="0">
                <a:hlinkClick r:id="rId54"/>
              </a:rPr>
              <a:t>Konspekti i OBD-së për menaxhimin e rrezikut</a:t>
            </a:r>
            <a:endParaRPr lang="sq-AL" sz="1100" dirty="0" smtClean="0"/>
          </a:p>
          <a:p>
            <a:pPr marL="636588" lvl="1" indent="-179388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100" dirty="0" smtClean="0">
                <a:hlinkClick r:id="rId55"/>
              </a:rPr>
              <a:t>Udhëzimet # 14 të ICC për doganat</a:t>
            </a:r>
            <a:endParaRPr lang="sq-AL" sz="1100" dirty="0" smtClean="0"/>
          </a:p>
          <a:p>
            <a:pPr marL="179388" indent="-179388">
              <a:buClr>
                <a:schemeClr val="tx1"/>
              </a:buClr>
              <a:buFont typeface="Wingdings" pitchFamily="2" charset="2"/>
              <a:buChar char="§"/>
            </a:pPr>
            <a:endParaRPr lang="sq-AL" sz="1100" dirty="0"/>
          </a:p>
          <a:p>
            <a:pPr marL="349250" lvl="1" indent="-168275">
              <a:buClr>
                <a:schemeClr val="tx1"/>
              </a:buClr>
              <a:buFont typeface="Arial" charset="0"/>
              <a:buChar char="–"/>
            </a:pPr>
            <a:endParaRPr lang="sq-AL" sz="1100" dirty="0"/>
          </a:p>
        </p:txBody>
      </p:sp>
      <p:sp>
        <p:nvSpPr>
          <p:cNvPr id="134" name="Textfeld 133"/>
          <p:cNvSpPr txBox="1"/>
          <p:nvPr>
            <p:custDataLst>
              <p:tags r:id="rId26"/>
            </p:custDataLst>
          </p:nvPr>
        </p:nvSpPr>
        <p:spPr>
          <a:xfrm>
            <a:off x="2483768" y="1268760"/>
            <a:ext cx="4340997" cy="30777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tx2"/>
                </a:solidFill>
              </a:rPr>
              <a:t>Ndikimi i zbatimit të menaxhimit të rrezikut në Japoni</a:t>
            </a:r>
            <a:endParaRPr lang="sq-AL" sz="1400" b="1" dirty="0">
              <a:solidFill>
                <a:schemeClr val="tx2"/>
              </a:solidFill>
            </a:endParaRPr>
          </a:p>
        </p:txBody>
      </p:sp>
      <p:sp>
        <p:nvSpPr>
          <p:cNvPr id="138" name="AutoShape 2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 rot="5400000">
            <a:off x="3128516" y="3072284"/>
            <a:ext cx="2238896" cy="216024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45720" rIns="45720" anchor="ctr"/>
          <a:lstStyle/>
          <a:p>
            <a:endParaRPr lang="en-US" dirty="0"/>
          </a:p>
        </p:txBody>
      </p:sp>
      <p:sp>
        <p:nvSpPr>
          <p:cNvPr id="149" name="Textfeld 148"/>
          <p:cNvSpPr txBox="1"/>
          <p:nvPr/>
        </p:nvSpPr>
        <p:spPr>
          <a:xfrm>
            <a:off x="2693114" y="4653136"/>
            <a:ext cx="3461204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tx2"/>
                </a:solidFill>
              </a:rPr>
              <a:t>Shembull i procesit të menaxhimit të rrezikut</a:t>
            </a:r>
            <a:endParaRPr lang="sq-AL" sz="120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Objekt 4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" name="think-cell Slide" r:id="rId40" imgW="360" imgH="360" progId="TCLayout.ActiveDocument.1">
                  <p:embed/>
                </p:oleObj>
              </mc:Choice>
              <mc:Fallback>
                <p:oleObj name="think-cell Slide" r:id="rId40" imgW="360" imgH="360" progId="TCLayout.ActiveDocument.1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Abgerundetes Rechteck 48"/>
          <p:cNvSpPr/>
          <p:nvPr>
            <p:custDataLst>
              <p:tags r:id="rId3"/>
            </p:custDataLst>
          </p:nvPr>
        </p:nvSpPr>
        <p:spPr>
          <a:xfrm>
            <a:off x="1475656" y="1772816"/>
            <a:ext cx="5832648" cy="936104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 smtClean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57200" y="260648"/>
            <a:ext cx="8229600" cy="576263"/>
          </a:xfrm>
        </p:spPr>
        <p:txBody>
          <a:bodyPr/>
          <a:lstStyle/>
          <a:p>
            <a:r>
              <a:rPr sz="2600" dirty="0" smtClean="0"/>
              <a:t>Masat e LT që lidhen me procesin e zhdoganimit</a:t>
            </a:r>
            <a:endParaRPr lang="sq-AL" sz="260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7B502781-F299-4122-9748-0155205CA53E}" type="slidenum">
              <a:rPr lang="it-IT" smtClean="0"/>
              <a:pPr>
                <a:defRPr/>
              </a:pPr>
              <a:t>17</a:t>
            </a:fld>
            <a:endParaRPr lang="sq-AL"/>
          </a:p>
        </p:txBody>
      </p:sp>
      <p:grpSp>
        <p:nvGrpSpPr>
          <p:cNvPr id="48" name="Gruppieren 47"/>
          <p:cNvGrpSpPr/>
          <p:nvPr>
            <p:custDataLst>
              <p:tags r:id="rId6"/>
            </p:custDataLst>
          </p:nvPr>
        </p:nvGrpSpPr>
        <p:grpSpPr>
          <a:xfrm>
            <a:off x="1621350" y="1916832"/>
            <a:ext cx="5555199" cy="648072"/>
            <a:chOff x="1621350" y="1844824"/>
            <a:chExt cx="5555199" cy="648072"/>
          </a:xfrm>
        </p:grpSpPr>
        <p:sp>
          <p:nvSpPr>
            <p:cNvPr id="4" name="AutoShape 14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4860032" y="1844824"/>
              <a:ext cx="1238464" cy="648072"/>
            </a:xfrm>
            <a:prstGeom prst="chevron">
              <a:avLst>
                <a:gd name="adj" fmla="val 31333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>
                <a:spcBef>
                  <a:spcPct val="45000"/>
                </a:spcBef>
                <a:buClr>
                  <a:schemeClr val="tx1"/>
                </a:buClr>
              </a:pPr>
              <a:r>
                <a:rPr lang="en-US" sz="900" b="1" dirty="0" smtClean="0">
                  <a:solidFill>
                    <a:srgbClr val="000000"/>
                  </a:solidFill>
                </a:rPr>
                <a:t>Llogaritja dhe vjelja</a:t>
              </a:r>
              <a:endParaRPr lang="sq-AL" sz="900" b="1" dirty="0">
                <a:solidFill>
                  <a:srgbClr val="000000"/>
                </a:solidFill>
              </a:endParaRPr>
            </a:p>
          </p:txBody>
        </p:sp>
        <p:sp>
          <p:nvSpPr>
            <p:cNvPr id="5" name="AutoShape 17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5940152" y="1844824"/>
              <a:ext cx="1236397" cy="648072"/>
            </a:xfrm>
            <a:prstGeom prst="chevron">
              <a:avLst>
                <a:gd name="adj" fmla="val 31281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>
                <a:spcBef>
                  <a:spcPct val="45000"/>
                </a:spcBef>
                <a:buClr>
                  <a:schemeClr val="tx1"/>
                </a:buClr>
              </a:pPr>
              <a:r>
                <a:rPr lang="en-US" sz="900" b="1" dirty="0" smtClean="0">
                  <a:solidFill>
                    <a:srgbClr val="000000"/>
                  </a:solidFill>
                </a:rPr>
                <a:t>Zhdoganimi</a:t>
              </a:r>
              <a:endParaRPr lang="sq-AL" sz="900" b="1" dirty="0">
                <a:solidFill>
                  <a:srgbClr val="000000"/>
                </a:solidFill>
              </a:endParaRPr>
            </a:p>
          </p:txBody>
        </p:sp>
        <p:sp>
          <p:nvSpPr>
            <p:cNvPr id="6" name="AutoShape 11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2699792" y="1844824"/>
              <a:ext cx="1240532" cy="648072"/>
            </a:xfrm>
            <a:prstGeom prst="chevron">
              <a:avLst>
                <a:gd name="adj" fmla="val 31578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>
                <a:spcBef>
                  <a:spcPct val="45000"/>
                </a:spcBef>
                <a:buClr>
                  <a:schemeClr val="tx1"/>
                </a:buClr>
              </a:pPr>
              <a:r>
                <a:rPr lang="en-US" sz="900" b="1" dirty="0" smtClean="0">
                  <a:solidFill>
                    <a:schemeClr val="tx1"/>
                  </a:solidFill>
                </a:rPr>
                <a:t>Kontrolli</a:t>
              </a:r>
              <a:endParaRPr lang="sq-AL" sz="900" b="1" dirty="0">
                <a:solidFill>
                  <a:schemeClr val="tx1"/>
                </a:solidFill>
              </a:endParaRPr>
            </a:p>
          </p:txBody>
        </p:sp>
        <p:sp>
          <p:nvSpPr>
            <p:cNvPr id="7" name="AutoShape 8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3779912" y="1844824"/>
              <a:ext cx="1236397" cy="648072"/>
            </a:xfrm>
            <a:prstGeom prst="chevron">
              <a:avLst>
                <a:gd name="adj" fmla="val 31473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>
                <a:spcBef>
                  <a:spcPct val="45000"/>
                </a:spcBef>
                <a:buClr>
                  <a:schemeClr val="tx1"/>
                </a:buClr>
              </a:pPr>
              <a:r>
                <a:rPr lang="en-US" sz="900" b="1" dirty="0" smtClean="0">
                  <a:solidFill>
                    <a:srgbClr val="000000"/>
                  </a:solidFill>
                </a:rPr>
                <a:t>Përzgjedhja dhe ekzaminimi</a:t>
              </a:r>
              <a:endParaRPr lang="sq-AL" sz="900" b="1" dirty="0">
                <a:solidFill>
                  <a:srgbClr val="000000"/>
                </a:solidFill>
              </a:endParaRPr>
            </a:p>
          </p:txBody>
        </p:sp>
        <p:sp>
          <p:nvSpPr>
            <p:cNvPr id="8" name="AutoShape 11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1621350" y="1844824"/>
              <a:ext cx="1240532" cy="648072"/>
            </a:xfrm>
            <a:prstGeom prst="chevron">
              <a:avLst>
                <a:gd name="adj" fmla="val 31578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anchor="ctr"/>
            <a:lstStyle/>
            <a:p>
              <a:pPr algn="ctr">
                <a:spcBef>
                  <a:spcPct val="45000"/>
                </a:spcBef>
                <a:buClr>
                  <a:schemeClr val="tx1"/>
                </a:buClr>
              </a:pPr>
              <a:r>
                <a:rPr lang="en-US" sz="900" b="1" dirty="0" smtClean="0">
                  <a:solidFill>
                    <a:schemeClr val="tx1"/>
                  </a:solidFill>
                </a:rPr>
                <a:t>Deklarimi</a:t>
              </a:r>
              <a:endParaRPr lang="sq-AL" sz="9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" name="Gruppieren 8"/>
          <p:cNvGrpSpPr/>
          <p:nvPr>
            <p:custDataLst>
              <p:tags r:id="rId7"/>
            </p:custDataLst>
          </p:nvPr>
        </p:nvGrpSpPr>
        <p:grpSpPr>
          <a:xfrm>
            <a:off x="8316416" y="476672"/>
            <a:ext cx="576064" cy="504056"/>
            <a:chOff x="755576" y="1196752"/>
            <a:chExt cx="5040560" cy="5112568"/>
          </a:xfrm>
        </p:grpSpPr>
        <p:sp>
          <p:nvSpPr>
            <p:cNvPr id="10" name="Rechteck 9"/>
            <p:cNvSpPr/>
            <p:nvPr/>
          </p:nvSpPr>
          <p:spPr>
            <a:xfrm>
              <a:off x="2483768" y="1196752"/>
              <a:ext cx="1584176" cy="36004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755576" y="1844824"/>
              <a:ext cx="1152128" cy="36004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4644008" y="1844824"/>
              <a:ext cx="1152128" cy="36004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eck 12"/>
            <p:cNvSpPr/>
            <p:nvPr/>
          </p:nvSpPr>
          <p:spPr>
            <a:xfrm>
              <a:off x="755576" y="234888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755576" y="4437112"/>
              <a:ext cx="1152128" cy="28803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4644008" y="249289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4644008" y="285293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7" name="Rechteck 16"/>
            <p:cNvSpPr/>
            <p:nvPr/>
          </p:nvSpPr>
          <p:spPr>
            <a:xfrm>
              <a:off x="2699792" y="1844824"/>
              <a:ext cx="1152128" cy="36004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8" name="Rechteck 17"/>
            <p:cNvSpPr/>
            <p:nvPr/>
          </p:nvSpPr>
          <p:spPr>
            <a:xfrm>
              <a:off x="2699792" y="321297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9" name="Rechteck 18"/>
            <p:cNvSpPr/>
            <p:nvPr/>
          </p:nvSpPr>
          <p:spPr>
            <a:xfrm>
              <a:off x="2699792" y="285293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0" name="Rechteck 19"/>
            <p:cNvSpPr/>
            <p:nvPr/>
          </p:nvSpPr>
          <p:spPr>
            <a:xfrm>
              <a:off x="2699792" y="249289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cxnSp>
          <p:nvCxnSpPr>
            <p:cNvPr id="21" name="Gerade Verbindung 20"/>
            <p:cNvCxnSpPr>
              <a:stCxn id="10" idx="2"/>
              <a:endCxn id="17" idx="0"/>
            </p:cNvCxnSpPr>
            <p:nvPr/>
          </p:nvCxnSpPr>
          <p:spPr>
            <a:xfrm>
              <a:off x="3275856" y="1556792"/>
              <a:ext cx="0" cy="28803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Form 35"/>
            <p:cNvCxnSpPr>
              <a:stCxn id="10" idx="2"/>
              <a:endCxn id="11" idx="0"/>
            </p:cNvCxnSpPr>
            <p:nvPr/>
          </p:nvCxnSpPr>
          <p:spPr>
            <a:xfrm rot="5400000">
              <a:off x="2159732" y="728700"/>
              <a:ext cx="288032" cy="1944216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winkelte Verbindung 22"/>
            <p:cNvCxnSpPr>
              <a:stCxn id="10" idx="2"/>
              <a:endCxn id="12" idx="0"/>
            </p:cNvCxnSpPr>
            <p:nvPr/>
          </p:nvCxnSpPr>
          <p:spPr>
            <a:xfrm rot="16200000" flipH="1">
              <a:off x="4103948" y="728700"/>
              <a:ext cx="288032" cy="1944216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winkelte Verbindung 23"/>
            <p:cNvCxnSpPr>
              <a:stCxn id="17" idx="1"/>
              <a:endCxn id="20" idx="1"/>
            </p:cNvCxnSpPr>
            <p:nvPr/>
          </p:nvCxnSpPr>
          <p:spPr>
            <a:xfrm rot="10800000" flipV="1">
              <a:off x="2699792" y="2024844"/>
              <a:ext cx="12700" cy="61206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winkelte Verbindung 24"/>
            <p:cNvCxnSpPr>
              <a:stCxn id="17" idx="1"/>
              <a:endCxn id="19" idx="1"/>
            </p:cNvCxnSpPr>
            <p:nvPr/>
          </p:nvCxnSpPr>
          <p:spPr>
            <a:xfrm rot="10800000" flipV="1">
              <a:off x="2699792" y="2024844"/>
              <a:ext cx="12700" cy="97210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winkelte Verbindung 25"/>
            <p:cNvCxnSpPr>
              <a:stCxn id="17" idx="1"/>
              <a:endCxn id="18" idx="1"/>
            </p:cNvCxnSpPr>
            <p:nvPr/>
          </p:nvCxnSpPr>
          <p:spPr>
            <a:xfrm rot="10800000" flipV="1">
              <a:off x="2699792" y="2024844"/>
              <a:ext cx="12700" cy="133214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winkelte Verbindung 26"/>
            <p:cNvCxnSpPr>
              <a:stCxn id="11" idx="1"/>
              <a:endCxn id="13" idx="1"/>
            </p:cNvCxnSpPr>
            <p:nvPr/>
          </p:nvCxnSpPr>
          <p:spPr>
            <a:xfrm rot="10800000" flipV="1">
              <a:off x="755576" y="2024844"/>
              <a:ext cx="12700" cy="468052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winkelte Verbindung 27"/>
            <p:cNvCxnSpPr>
              <a:stCxn id="11" idx="1"/>
              <a:endCxn id="14" idx="1"/>
            </p:cNvCxnSpPr>
            <p:nvPr/>
          </p:nvCxnSpPr>
          <p:spPr>
            <a:xfrm rot="10800000" flipV="1">
              <a:off x="755576" y="2024844"/>
              <a:ext cx="12700" cy="2556284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winkelte Verbindung 28"/>
            <p:cNvCxnSpPr>
              <a:stCxn id="12" idx="1"/>
              <a:endCxn id="15" idx="1"/>
            </p:cNvCxnSpPr>
            <p:nvPr/>
          </p:nvCxnSpPr>
          <p:spPr>
            <a:xfrm rot="10800000" flipV="1">
              <a:off x="4644008" y="2024844"/>
              <a:ext cx="12700" cy="61206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winkelte Verbindung 29"/>
            <p:cNvCxnSpPr>
              <a:stCxn id="12" idx="1"/>
              <a:endCxn id="16" idx="1"/>
            </p:cNvCxnSpPr>
            <p:nvPr/>
          </p:nvCxnSpPr>
          <p:spPr>
            <a:xfrm rot="10800000" flipV="1">
              <a:off x="4644008" y="2024844"/>
              <a:ext cx="12700" cy="97210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chteck 30"/>
            <p:cNvSpPr/>
            <p:nvPr/>
          </p:nvSpPr>
          <p:spPr>
            <a:xfrm>
              <a:off x="899592" y="270892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2" name="Rechteck 31"/>
            <p:cNvSpPr/>
            <p:nvPr/>
          </p:nvSpPr>
          <p:spPr>
            <a:xfrm>
              <a:off x="899592" y="306896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899592" y="342900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899592" y="393305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5" name="Rechteck 34"/>
            <p:cNvSpPr/>
            <p:nvPr/>
          </p:nvSpPr>
          <p:spPr>
            <a:xfrm>
              <a:off x="899592" y="479715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6" name="Rechteck 35"/>
            <p:cNvSpPr/>
            <p:nvPr/>
          </p:nvSpPr>
          <p:spPr>
            <a:xfrm>
              <a:off x="899592" y="515719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7" name="Rechteck 36"/>
            <p:cNvSpPr/>
            <p:nvPr/>
          </p:nvSpPr>
          <p:spPr>
            <a:xfrm>
              <a:off x="899592" y="551723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8" name="Rechteck 37"/>
            <p:cNvSpPr/>
            <p:nvPr/>
          </p:nvSpPr>
          <p:spPr>
            <a:xfrm>
              <a:off x="899592" y="6021288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cxnSp>
          <p:nvCxnSpPr>
            <p:cNvPr id="39" name="Gewinkelte Verbindung 38"/>
            <p:cNvCxnSpPr>
              <a:stCxn id="13" idx="1"/>
              <a:endCxn id="31" idx="1"/>
            </p:cNvCxnSpPr>
            <p:nvPr/>
          </p:nvCxnSpPr>
          <p:spPr>
            <a:xfrm rot="10800000" flipH="1" flipV="1">
              <a:off x="755576" y="2492896"/>
              <a:ext cx="144016" cy="360040"/>
            </a:xfrm>
            <a:prstGeom prst="bentConnector3">
              <a:avLst>
                <a:gd name="adj1" fmla="val -64668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winkelte Verbindung 39"/>
            <p:cNvCxnSpPr>
              <a:stCxn id="13" idx="1"/>
              <a:endCxn id="32" idx="1"/>
            </p:cNvCxnSpPr>
            <p:nvPr/>
          </p:nvCxnSpPr>
          <p:spPr>
            <a:xfrm rot="10800000" flipH="1" flipV="1">
              <a:off x="755576" y="2492896"/>
              <a:ext cx="144016" cy="720080"/>
            </a:xfrm>
            <a:prstGeom prst="bentConnector3">
              <a:avLst>
                <a:gd name="adj1" fmla="val -64669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winkelte Verbindung 40"/>
            <p:cNvCxnSpPr>
              <a:stCxn id="13" idx="1"/>
              <a:endCxn id="33" idx="1"/>
            </p:cNvCxnSpPr>
            <p:nvPr/>
          </p:nvCxnSpPr>
          <p:spPr>
            <a:xfrm rot="10800000" flipH="1" flipV="1">
              <a:off x="755576" y="2492896"/>
              <a:ext cx="144016" cy="1080120"/>
            </a:xfrm>
            <a:prstGeom prst="bentConnector3">
              <a:avLst>
                <a:gd name="adj1" fmla="val -64669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winkelte Verbindung 41"/>
            <p:cNvCxnSpPr>
              <a:stCxn id="13" idx="1"/>
              <a:endCxn id="34" idx="1"/>
            </p:cNvCxnSpPr>
            <p:nvPr/>
          </p:nvCxnSpPr>
          <p:spPr>
            <a:xfrm rot="10800000" flipH="1" flipV="1">
              <a:off x="755576" y="2492896"/>
              <a:ext cx="144016" cy="1584176"/>
            </a:xfrm>
            <a:prstGeom prst="bentConnector3">
              <a:avLst>
                <a:gd name="adj1" fmla="val -64669"/>
              </a:avLst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winkelte Verbindung 42"/>
            <p:cNvCxnSpPr>
              <a:stCxn id="14" idx="1"/>
              <a:endCxn id="35" idx="1"/>
            </p:cNvCxnSpPr>
            <p:nvPr/>
          </p:nvCxnSpPr>
          <p:spPr>
            <a:xfrm rot="10800000" flipH="1" flipV="1">
              <a:off x="755576" y="4581128"/>
              <a:ext cx="144016" cy="360040"/>
            </a:xfrm>
            <a:prstGeom prst="bentConnector3">
              <a:avLst>
                <a:gd name="adj1" fmla="val -61118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Form 88"/>
            <p:cNvCxnSpPr>
              <a:stCxn id="14" idx="1"/>
              <a:endCxn id="36" idx="1"/>
            </p:cNvCxnSpPr>
            <p:nvPr/>
          </p:nvCxnSpPr>
          <p:spPr>
            <a:xfrm rot="10800000" flipH="1" flipV="1">
              <a:off x="755576" y="4581128"/>
              <a:ext cx="144016" cy="720080"/>
            </a:xfrm>
            <a:prstGeom prst="bentConnector3">
              <a:avLst>
                <a:gd name="adj1" fmla="val -63853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Form 90"/>
            <p:cNvCxnSpPr>
              <a:stCxn id="14" idx="1"/>
              <a:endCxn id="37" idx="1"/>
            </p:cNvCxnSpPr>
            <p:nvPr/>
          </p:nvCxnSpPr>
          <p:spPr>
            <a:xfrm rot="10800000" flipH="1" flipV="1">
              <a:off x="755576" y="4581128"/>
              <a:ext cx="144016" cy="1080120"/>
            </a:xfrm>
            <a:prstGeom prst="bentConnector3">
              <a:avLst>
                <a:gd name="adj1" fmla="val -64435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winkelte Verbindung 45"/>
            <p:cNvCxnSpPr>
              <a:stCxn id="14" idx="1"/>
              <a:endCxn id="38" idx="1"/>
            </p:cNvCxnSpPr>
            <p:nvPr/>
          </p:nvCxnSpPr>
          <p:spPr>
            <a:xfrm rot="10800000" flipH="1" flipV="1">
              <a:off x="755576" y="4581128"/>
              <a:ext cx="144016" cy="1584176"/>
            </a:xfrm>
            <a:prstGeom prst="bentConnector3">
              <a:avLst>
                <a:gd name="adj1" fmla="val -64435"/>
              </a:avLst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Textfeld 46"/>
          <p:cNvSpPr txBox="1"/>
          <p:nvPr>
            <p:custDataLst>
              <p:tags r:id="rId8"/>
            </p:custDataLst>
          </p:nvPr>
        </p:nvSpPr>
        <p:spPr>
          <a:xfrm>
            <a:off x="2483768" y="1340768"/>
            <a:ext cx="4120039" cy="29238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300" b="1" dirty="0" smtClean="0">
                <a:solidFill>
                  <a:schemeClr val="tx2"/>
                </a:solidFill>
              </a:rPr>
              <a:t>Hapat tipike në një proces zhdoganimi në dogana</a:t>
            </a:r>
            <a:endParaRPr lang="sq-AL" sz="1300" b="1" dirty="0">
              <a:solidFill>
                <a:schemeClr val="tx2"/>
              </a:solidFill>
            </a:endParaRPr>
          </a:p>
        </p:txBody>
      </p:sp>
      <p:grpSp>
        <p:nvGrpSpPr>
          <p:cNvPr id="89" name="Gruppieren 88"/>
          <p:cNvGrpSpPr/>
          <p:nvPr>
            <p:custDataLst>
              <p:tags r:id="rId9"/>
            </p:custDataLst>
          </p:nvPr>
        </p:nvGrpSpPr>
        <p:grpSpPr>
          <a:xfrm>
            <a:off x="611560" y="3501008"/>
            <a:ext cx="1368152" cy="2794348"/>
            <a:chOff x="611560" y="3501008"/>
            <a:chExt cx="1368152" cy="2794348"/>
          </a:xfrm>
        </p:grpSpPr>
        <p:sp>
          <p:nvSpPr>
            <p:cNvPr id="51" name="Rectangle 15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1560" y="3501008"/>
              <a:ext cx="1368152" cy="35242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18000" tIns="18000" rIns="18000" bIns="18000" anchor="ctr"/>
            <a:lstStyle/>
            <a:p>
              <a:pPr algn="ctr">
                <a:spcAft>
                  <a:spcPts val="200"/>
                </a:spcAft>
                <a:buClr>
                  <a:schemeClr val="tx1"/>
                </a:buClr>
              </a:pPr>
              <a:r>
                <a:rPr lang="en-US" sz="1200" b="1" dirty="0" smtClean="0">
                  <a:solidFill>
                    <a:srgbClr val="FFFFFF"/>
                  </a:solidFill>
                </a:rPr>
                <a:t>Deklarimi</a:t>
              </a:r>
              <a:endParaRPr lang="sq-AL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52" name="Rectangle 16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11560" y="3847084"/>
              <a:ext cx="1368152" cy="244827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72000" tIns="72000" rIns="72000" bIns="72000"/>
            <a:lstStyle/>
            <a:p>
              <a:pPr marL="179388" indent="-179388">
                <a:buClr>
                  <a:schemeClr val="tx1"/>
                </a:buClr>
                <a:buFont typeface="Wingdings" pitchFamily="2" charset="2"/>
                <a:buChar char="§"/>
              </a:pPr>
              <a:r>
                <a:rPr lang="en-US" sz="1200" dirty="0" smtClean="0">
                  <a:hlinkClick r:id="rId42"/>
                </a:rPr>
                <a:t>Forma dhe përmbajtja e deklaratës</a:t>
              </a:r>
              <a:endParaRPr lang="sq-AL" sz="1200" dirty="0" smtClean="0"/>
            </a:p>
            <a:p>
              <a:pPr marL="179388" indent="-179388">
                <a:buClr>
                  <a:schemeClr val="tx1"/>
                </a:buClr>
                <a:buFont typeface="Wingdings" pitchFamily="2" charset="2"/>
                <a:buChar char="§"/>
              </a:pPr>
              <a:r>
                <a:rPr lang="en-US" sz="1200" dirty="0" smtClean="0">
                  <a:hlinkClick r:id="rId43"/>
                </a:rPr>
                <a:t>Dokumentet mbështetëse</a:t>
              </a:r>
              <a:endParaRPr lang="sq-AL" sz="1200" dirty="0" smtClean="0"/>
            </a:p>
            <a:p>
              <a:pPr marL="179388" indent="-179388">
                <a:buClr>
                  <a:schemeClr val="tx1"/>
                </a:buClr>
                <a:buFont typeface="Wingdings" pitchFamily="2" charset="2"/>
                <a:buChar char="§"/>
              </a:pPr>
              <a:r>
                <a:rPr lang="en-US" sz="1200" dirty="0" smtClean="0">
                  <a:hlinkClick r:id="rId44"/>
                </a:rPr>
                <a:t>Vendimi paraprak</a:t>
              </a:r>
              <a:endParaRPr lang="sq-AL" sz="1200" dirty="0" smtClean="0"/>
            </a:p>
            <a:p>
              <a:pPr marL="179388" indent="-179388">
                <a:buClr>
                  <a:schemeClr val="tx1"/>
                </a:buClr>
                <a:buFont typeface="Wingdings" pitchFamily="2" charset="2"/>
                <a:buChar char="§"/>
              </a:pPr>
              <a:endParaRPr lang="sq-AL" sz="1200" dirty="0"/>
            </a:p>
            <a:p>
              <a:pPr marL="349250" lvl="1" indent="-168275">
                <a:buClr>
                  <a:schemeClr val="tx1"/>
                </a:buClr>
                <a:buFont typeface="Arial" charset="0"/>
                <a:buChar char="–"/>
              </a:pPr>
              <a:endParaRPr lang="sq-AL" sz="1200" dirty="0"/>
            </a:p>
          </p:txBody>
        </p:sp>
      </p:grpSp>
      <p:grpSp>
        <p:nvGrpSpPr>
          <p:cNvPr id="88" name="Gruppieren 87"/>
          <p:cNvGrpSpPr/>
          <p:nvPr>
            <p:custDataLst>
              <p:tags r:id="rId10"/>
            </p:custDataLst>
          </p:nvPr>
        </p:nvGrpSpPr>
        <p:grpSpPr>
          <a:xfrm>
            <a:off x="2231740" y="3514972"/>
            <a:ext cx="1368152" cy="2794348"/>
            <a:chOff x="2195736" y="3514972"/>
            <a:chExt cx="1368152" cy="2794348"/>
          </a:xfrm>
        </p:grpSpPr>
        <p:sp>
          <p:nvSpPr>
            <p:cNvPr id="53" name="Rectangle 15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2195736" y="3514972"/>
              <a:ext cx="1368152" cy="35242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18000" tIns="18000" rIns="18000" bIns="18000" anchor="ctr"/>
            <a:lstStyle/>
            <a:p>
              <a:pPr algn="ctr">
                <a:spcAft>
                  <a:spcPts val="200"/>
                </a:spcAft>
                <a:buClr>
                  <a:schemeClr val="tx1"/>
                </a:buClr>
              </a:pPr>
              <a:r>
                <a:rPr lang="en-US" sz="1200" b="1" dirty="0" smtClean="0">
                  <a:solidFill>
                    <a:srgbClr val="FFFFFF"/>
                  </a:solidFill>
                </a:rPr>
                <a:t>Kontrolli</a:t>
              </a:r>
              <a:endParaRPr lang="sq-AL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54" name="Rectangle 16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2195736" y="3861048"/>
              <a:ext cx="1368152" cy="244827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72000" tIns="72000" rIns="72000" bIns="72000"/>
            <a:lstStyle/>
            <a:p>
              <a:pPr marL="179388" indent="-179388">
                <a:buClr>
                  <a:schemeClr val="tx1"/>
                </a:buClr>
                <a:buFont typeface="Wingdings" pitchFamily="2" charset="2"/>
                <a:buChar char="§"/>
              </a:pPr>
              <a:r>
                <a:rPr lang="en-US" sz="1200" dirty="0" smtClean="0">
                  <a:solidFill>
                    <a:schemeClr val="bg1">
                      <a:lumMod val="65000"/>
                    </a:schemeClr>
                  </a:solidFill>
                </a:rPr>
                <a:t>Verifikimi</a:t>
              </a:r>
            </a:p>
            <a:p>
              <a:pPr marL="269875" lvl="1" indent="-179388">
                <a:buClr>
                  <a:schemeClr val="tx1"/>
                </a:buClr>
                <a:buFont typeface="Wingdings" pitchFamily="2" charset="2"/>
                <a:buChar char="§"/>
              </a:pPr>
              <a:r>
                <a:rPr lang="en-US" sz="1200" dirty="0" smtClean="0">
                  <a:solidFill>
                    <a:schemeClr val="bg1">
                      <a:lumMod val="65000"/>
                    </a:schemeClr>
                  </a:solidFill>
                </a:rPr>
                <a:t>Klasifikimi</a:t>
              </a:r>
            </a:p>
            <a:p>
              <a:pPr marL="269875" lvl="1" indent="-179388">
                <a:buClr>
                  <a:schemeClr val="tx1"/>
                </a:buClr>
                <a:buFont typeface="Wingdings" pitchFamily="2" charset="2"/>
                <a:buChar char="§"/>
              </a:pPr>
              <a:r>
                <a:rPr lang="en-US" sz="1200" dirty="0" smtClean="0">
                  <a:solidFill>
                    <a:schemeClr val="bg1">
                      <a:lumMod val="65000"/>
                    </a:schemeClr>
                  </a:solidFill>
                </a:rPr>
                <a:t>Vlera</a:t>
              </a:r>
            </a:p>
            <a:p>
              <a:pPr marL="269875" lvl="1" indent="-179388">
                <a:buClr>
                  <a:schemeClr val="tx1"/>
                </a:buClr>
                <a:buFont typeface="Wingdings" pitchFamily="2" charset="2"/>
                <a:buChar char="§"/>
              </a:pPr>
              <a:r>
                <a:rPr lang="en-US" sz="1200" dirty="0" smtClean="0">
                  <a:solidFill>
                    <a:schemeClr val="bg1">
                      <a:lumMod val="65000"/>
                    </a:schemeClr>
                  </a:solidFill>
                </a:rPr>
                <a:t>Origjina</a:t>
              </a:r>
            </a:p>
            <a:p>
              <a:pPr marL="179388" indent="-179388">
                <a:buClr>
                  <a:schemeClr val="tx1"/>
                </a:buClr>
                <a:buFont typeface="Wingdings" pitchFamily="2" charset="2"/>
                <a:buChar char="§"/>
              </a:pPr>
              <a:r>
                <a:rPr lang="en-US" sz="1200" dirty="0" smtClean="0">
                  <a:solidFill>
                    <a:schemeClr val="bg1">
                      <a:lumMod val="65000"/>
                    </a:schemeClr>
                  </a:solidFill>
                </a:rPr>
                <a:t>Kontrollet e besueshmërisë</a:t>
              </a:r>
            </a:p>
            <a:p>
              <a:pPr marL="179388" indent="-179388">
                <a:buClr>
                  <a:schemeClr val="tx1"/>
                </a:buClr>
                <a:buFont typeface="Wingdings" pitchFamily="2" charset="2"/>
                <a:buChar char="§"/>
              </a:pPr>
              <a:endParaRPr lang="sq-AL" sz="1200" dirty="0"/>
            </a:p>
            <a:p>
              <a:pPr marL="349250" lvl="1" indent="-168275">
                <a:buClr>
                  <a:schemeClr val="tx1"/>
                </a:buClr>
                <a:buFont typeface="Arial" charset="0"/>
                <a:buChar char="–"/>
              </a:pPr>
              <a:endParaRPr lang="sq-AL" sz="1200" dirty="0"/>
            </a:p>
          </p:txBody>
        </p:sp>
      </p:grpSp>
      <p:grpSp>
        <p:nvGrpSpPr>
          <p:cNvPr id="87" name="Gruppieren 86"/>
          <p:cNvGrpSpPr/>
          <p:nvPr>
            <p:custDataLst>
              <p:tags r:id="rId11"/>
            </p:custDataLst>
          </p:nvPr>
        </p:nvGrpSpPr>
        <p:grpSpPr>
          <a:xfrm>
            <a:off x="3851920" y="3514972"/>
            <a:ext cx="1368152" cy="2794348"/>
            <a:chOff x="3779912" y="3514972"/>
            <a:chExt cx="1368152" cy="2794348"/>
          </a:xfrm>
        </p:grpSpPr>
        <p:sp>
          <p:nvSpPr>
            <p:cNvPr id="55" name="Rectangle 15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3779912" y="3514972"/>
              <a:ext cx="1368152" cy="35242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18000" tIns="18000" rIns="18000" bIns="18000" anchor="ctr"/>
            <a:lstStyle/>
            <a:p>
              <a:pPr algn="ctr">
                <a:spcAft>
                  <a:spcPts val="200"/>
                </a:spcAft>
                <a:buClr>
                  <a:schemeClr val="tx1"/>
                </a:buClr>
              </a:pPr>
              <a:r>
                <a:rPr lang="en-US" sz="1200" b="1" dirty="0" smtClean="0">
                  <a:solidFill>
                    <a:srgbClr val="FFFFFF"/>
                  </a:solidFill>
                </a:rPr>
                <a:t>Përzgjedhja</a:t>
              </a:r>
              <a:endParaRPr lang="sq-AL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56" name="Rectangle 16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3779912" y="3861048"/>
              <a:ext cx="1368152" cy="244827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72000" tIns="72000" rIns="72000" bIns="72000"/>
            <a:lstStyle/>
            <a:p>
              <a:pPr marL="179388" indent="-179388">
                <a:buClr>
                  <a:schemeClr val="tx1"/>
                </a:buClr>
                <a:buFont typeface="Wingdings" pitchFamily="2" charset="2"/>
                <a:buChar char="§"/>
              </a:pPr>
              <a:r>
                <a:rPr lang="en-US" sz="1200" dirty="0" smtClean="0">
                  <a:hlinkClick r:id="rId45"/>
                </a:rPr>
                <a:t>Menaxhimi i rrezikut dhe përzgjedhja</a:t>
              </a:r>
              <a:r>
                <a:rPr lang="en-US" sz="1200" dirty="0" smtClean="0"/>
                <a:t>*</a:t>
              </a:r>
            </a:p>
            <a:p>
              <a:pPr marL="179388" indent="-179388">
                <a:buClr>
                  <a:schemeClr val="tx1"/>
                </a:buClr>
                <a:buFont typeface="Wingdings" pitchFamily="2" charset="2"/>
                <a:buChar char="§"/>
              </a:pPr>
              <a:r>
                <a:rPr lang="en-US" sz="1200" dirty="0" smtClean="0">
                  <a:hlinkClick r:id="rId46"/>
                </a:rPr>
                <a:t>Teknologjia për inspektime pa ndërhyrje fizike</a:t>
              </a:r>
              <a:r>
                <a:rPr dirty="0" smtClean="0"/>
                <a:t> </a:t>
              </a:r>
            </a:p>
            <a:p>
              <a:pPr marL="179388" indent="-179388">
                <a:buClr>
                  <a:schemeClr val="tx1"/>
                </a:buClr>
                <a:buFont typeface="Wingdings" pitchFamily="2" charset="2"/>
                <a:buChar char="§"/>
              </a:pPr>
              <a:r>
                <a:rPr lang="en-US" sz="1200" dirty="0" smtClean="0">
                  <a:hlinkClick r:id="rId47"/>
                </a:rPr>
                <a:t>Ndërhyrja e koordinuar</a:t>
              </a:r>
              <a:r>
                <a:rPr lang="en-US" sz="1200" dirty="0" smtClean="0"/>
                <a:t>*</a:t>
              </a:r>
              <a:endParaRPr lang="sq-AL" sz="1200" dirty="0"/>
            </a:p>
            <a:p>
              <a:pPr marL="349250" lvl="1" indent="-168275">
                <a:buClr>
                  <a:schemeClr val="tx1"/>
                </a:buClr>
                <a:buFont typeface="Arial" charset="0"/>
                <a:buChar char="–"/>
              </a:pPr>
              <a:endParaRPr lang="sq-AL" sz="1200" dirty="0"/>
            </a:p>
          </p:txBody>
        </p:sp>
      </p:grpSp>
      <p:grpSp>
        <p:nvGrpSpPr>
          <p:cNvPr id="86" name="Gruppieren 85"/>
          <p:cNvGrpSpPr/>
          <p:nvPr>
            <p:custDataLst>
              <p:tags r:id="rId12"/>
            </p:custDataLst>
          </p:nvPr>
        </p:nvGrpSpPr>
        <p:grpSpPr>
          <a:xfrm>
            <a:off x="5472100" y="3514972"/>
            <a:ext cx="1368152" cy="2794348"/>
            <a:chOff x="5436096" y="3514972"/>
            <a:chExt cx="1368152" cy="2794348"/>
          </a:xfrm>
        </p:grpSpPr>
        <p:sp>
          <p:nvSpPr>
            <p:cNvPr id="57" name="Rectangle 15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5436096" y="3514972"/>
              <a:ext cx="1368152" cy="35242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18000" tIns="18000" rIns="18000" bIns="18000" anchor="ctr"/>
            <a:lstStyle/>
            <a:p>
              <a:pPr algn="ctr">
                <a:spcAft>
                  <a:spcPts val="200"/>
                </a:spcAft>
                <a:buClr>
                  <a:schemeClr val="tx1"/>
                </a:buClr>
              </a:pPr>
              <a:r>
                <a:rPr lang="en-US" sz="1200" b="1" dirty="0" smtClean="0">
                  <a:solidFill>
                    <a:srgbClr val="FFFFFF"/>
                  </a:solidFill>
                </a:rPr>
                <a:t>Vjelja</a:t>
              </a:r>
              <a:endParaRPr lang="sq-AL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58" name="Rectangle 16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5436096" y="3861048"/>
              <a:ext cx="1368152" cy="244827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72000" tIns="72000" rIns="72000" bIns="72000"/>
            <a:lstStyle/>
            <a:p>
              <a:pPr marL="179388" indent="-179388">
                <a:buClr>
                  <a:schemeClr val="tx1"/>
                </a:buClr>
                <a:buFont typeface="Wingdings" pitchFamily="2" charset="2"/>
                <a:buChar char="§"/>
              </a:pPr>
              <a:r>
                <a:rPr lang="en-US" sz="1200" dirty="0" smtClean="0">
                  <a:hlinkClick r:id="rId48"/>
                </a:rPr>
                <a:t>Pagesat e shtyra</a:t>
              </a:r>
              <a:r>
                <a:rPr lang="en-US" sz="1200" dirty="0" smtClean="0"/>
                <a:t> *</a:t>
              </a:r>
            </a:p>
            <a:p>
              <a:pPr marL="179388" indent="-179388">
                <a:buClr>
                  <a:schemeClr val="tx1"/>
                </a:buClr>
                <a:buFont typeface="Wingdings" pitchFamily="2" charset="2"/>
                <a:buChar char="§"/>
              </a:pPr>
              <a:r>
                <a:rPr lang="en-US" sz="1200" dirty="0" smtClean="0">
                  <a:hlinkClick r:id="rId49"/>
                </a:rPr>
                <a:t>pagesat elektronike </a:t>
              </a:r>
              <a:r>
                <a:rPr lang="en-US" sz="1200" dirty="0" smtClean="0"/>
                <a:t>*</a:t>
              </a:r>
              <a:endParaRPr lang="sq-AL" sz="1200" dirty="0"/>
            </a:p>
            <a:p>
              <a:pPr marL="349250" lvl="1" indent="-168275">
                <a:buClr>
                  <a:schemeClr val="tx1"/>
                </a:buClr>
                <a:buFont typeface="Arial" charset="0"/>
                <a:buChar char="–"/>
              </a:pPr>
              <a:endParaRPr lang="sq-AL" sz="1200" dirty="0"/>
            </a:p>
          </p:txBody>
        </p:sp>
      </p:grpSp>
      <p:grpSp>
        <p:nvGrpSpPr>
          <p:cNvPr id="85" name="Gruppieren 84"/>
          <p:cNvGrpSpPr/>
          <p:nvPr>
            <p:custDataLst>
              <p:tags r:id="rId13"/>
            </p:custDataLst>
          </p:nvPr>
        </p:nvGrpSpPr>
        <p:grpSpPr>
          <a:xfrm>
            <a:off x="7092280" y="3514972"/>
            <a:ext cx="1368152" cy="2794348"/>
            <a:chOff x="7092280" y="3514972"/>
            <a:chExt cx="1368152" cy="2794348"/>
          </a:xfrm>
        </p:grpSpPr>
        <p:sp>
          <p:nvSpPr>
            <p:cNvPr id="59" name="Rectangle 15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7092280" y="3514972"/>
              <a:ext cx="1368152" cy="35242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18000" tIns="18000" rIns="18000" bIns="18000" anchor="ctr"/>
            <a:lstStyle/>
            <a:p>
              <a:pPr algn="ctr">
                <a:spcAft>
                  <a:spcPts val="200"/>
                </a:spcAft>
                <a:buClr>
                  <a:schemeClr val="tx1"/>
                </a:buClr>
              </a:pPr>
              <a:r>
                <a:rPr lang="en-US" sz="1200" b="1" dirty="0" smtClean="0">
                  <a:solidFill>
                    <a:srgbClr val="FFFFFF"/>
                  </a:solidFill>
                </a:rPr>
                <a:t>Zhdoganimi</a:t>
              </a:r>
              <a:endParaRPr lang="sq-AL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60" name="Rectangle 16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7092280" y="3861048"/>
              <a:ext cx="1368152" cy="244827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72000" tIns="72000" rIns="72000" bIns="72000"/>
            <a:lstStyle/>
            <a:p>
              <a:pPr marL="179388" indent="-179388">
                <a:buClr>
                  <a:schemeClr val="tx1"/>
                </a:buClr>
                <a:buFont typeface="Wingdings" pitchFamily="2" charset="2"/>
                <a:buChar char="§"/>
              </a:pPr>
              <a:r>
                <a:rPr lang="en-US" sz="1200" dirty="0" smtClean="0">
                  <a:hlinkClick r:id="rId50"/>
                </a:rPr>
                <a:t>Koha e zhdoganimit</a:t>
              </a:r>
              <a:endParaRPr lang="sq-AL" sz="1200" dirty="0" smtClean="0"/>
            </a:p>
            <a:p>
              <a:pPr marL="179388" indent="-179388">
                <a:buClr>
                  <a:schemeClr val="tx1"/>
                </a:buClr>
                <a:buFont typeface="Wingdings" pitchFamily="2" charset="2"/>
                <a:buChar char="§"/>
              </a:pPr>
              <a:r>
                <a:rPr lang="en-US" sz="1200" dirty="0" smtClean="0">
                  <a:hlinkClick r:id="rId51"/>
                </a:rPr>
                <a:t>Përpunimi përpara mbërritjes</a:t>
              </a:r>
              <a:r>
                <a:rPr lang="en-US" sz="1200" dirty="0" smtClean="0"/>
                <a:t>*</a:t>
              </a:r>
            </a:p>
            <a:p>
              <a:pPr marL="179388" indent="-179388">
                <a:buClr>
                  <a:schemeClr val="tx1"/>
                </a:buClr>
                <a:buFont typeface="Wingdings" pitchFamily="2" charset="2"/>
                <a:buChar char="§"/>
              </a:pPr>
              <a:r>
                <a:rPr lang="en-US" sz="1200" dirty="0" smtClean="0">
                  <a:hlinkClick r:id="rId52"/>
                </a:rPr>
                <a:t>Siguria dhe garancia</a:t>
              </a:r>
              <a:endParaRPr lang="sq-AL" sz="1200" dirty="0"/>
            </a:p>
            <a:p>
              <a:pPr marL="349250" lvl="1" indent="-168275">
                <a:buClr>
                  <a:schemeClr val="tx1"/>
                </a:buClr>
                <a:buFont typeface="Arial" charset="0"/>
                <a:buChar char="–"/>
              </a:pPr>
              <a:endParaRPr lang="sq-AL" sz="1200" dirty="0"/>
            </a:p>
          </p:txBody>
        </p:sp>
      </p:grpSp>
      <p:cxnSp>
        <p:nvCxnSpPr>
          <p:cNvPr id="62" name="Gerade Verbindung 61"/>
          <p:cNvCxnSpPr/>
          <p:nvPr>
            <p:custDataLst>
              <p:tags r:id="rId14"/>
            </p:custDataLst>
          </p:nvPr>
        </p:nvCxnSpPr>
        <p:spPr>
          <a:xfrm flipH="1">
            <a:off x="611560" y="2708920"/>
            <a:ext cx="1008112" cy="792088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3"/>
          <p:cNvCxnSpPr/>
          <p:nvPr>
            <p:custDataLst>
              <p:tags r:id="rId15"/>
            </p:custDataLst>
          </p:nvPr>
        </p:nvCxnSpPr>
        <p:spPr>
          <a:xfrm flipH="1">
            <a:off x="1979712" y="2708920"/>
            <a:ext cx="576064" cy="792088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68"/>
          <p:cNvCxnSpPr/>
          <p:nvPr>
            <p:custDataLst>
              <p:tags r:id="rId16"/>
            </p:custDataLst>
          </p:nvPr>
        </p:nvCxnSpPr>
        <p:spPr>
          <a:xfrm flipH="1">
            <a:off x="2267744" y="2708920"/>
            <a:ext cx="432048" cy="792088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/>
          <p:nvPr>
            <p:custDataLst>
              <p:tags r:id="rId17"/>
            </p:custDataLst>
          </p:nvPr>
        </p:nvCxnSpPr>
        <p:spPr>
          <a:xfrm flipH="1">
            <a:off x="3563888" y="2708920"/>
            <a:ext cx="144016" cy="792088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72"/>
          <p:cNvCxnSpPr/>
          <p:nvPr>
            <p:custDataLst>
              <p:tags r:id="rId18"/>
            </p:custDataLst>
          </p:nvPr>
        </p:nvCxnSpPr>
        <p:spPr>
          <a:xfrm>
            <a:off x="3779912" y="2708920"/>
            <a:ext cx="72008" cy="792088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74"/>
          <p:cNvCxnSpPr/>
          <p:nvPr>
            <p:custDataLst>
              <p:tags r:id="rId19"/>
            </p:custDataLst>
          </p:nvPr>
        </p:nvCxnSpPr>
        <p:spPr>
          <a:xfrm>
            <a:off x="4788024" y="2708920"/>
            <a:ext cx="432048" cy="792088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76"/>
          <p:cNvCxnSpPr/>
          <p:nvPr>
            <p:custDataLst>
              <p:tags r:id="rId20"/>
            </p:custDataLst>
          </p:nvPr>
        </p:nvCxnSpPr>
        <p:spPr>
          <a:xfrm>
            <a:off x="4860032" y="2708920"/>
            <a:ext cx="648072" cy="864096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78"/>
          <p:cNvCxnSpPr/>
          <p:nvPr>
            <p:custDataLst>
              <p:tags r:id="rId21"/>
            </p:custDataLst>
          </p:nvPr>
        </p:nvCxnSpPr>
        <p:spPr>
          <a:xfrm>
            <a:off x="5940152" y="2708920"/>
            <a:ext cx="864096" cy="792088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 Verbindung 80"/>
          <p:cNvCxnSpPr/>
          <p:nvPr>
            <p:custDataLst>
              <p:tags r:id="rId22"/>
            </p:custDataLst>
          </p:nvPr>
        </p:nvCxnSpPr>
        <p:spPr>
          <a:xfrm>
            <a:off x="6012160" y="2708920"/>
            <a:ext cx="1080120" cy="792088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82"/>
          <p:cNvCxnSpPr/>
          <p:nvPr>
            <p:custDataLst>
              <p:tags r:id="rId23"/>
            </p:custDataLst>
          </p:nvPr>
        </p:nvCxnSpPr>
        <p:spPr>
          <a:xfrm>
            <a:off x="7020272" y="2708920"/>
            <a:ext cx="1440160" cy="792088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feld 77"/>
          <p:cNvSpPr txBox="1"/>
          <p:nvPr/>
        </p:nvSpPr>
        <p:spPr>
          <a:xfrm>
            <a:off x="395536" y="6351131"/>
            <a:ext cx="135325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* Pjesë e itinerarit</a:t>
            </a:r>
            <a:endParaRPr lang="sq-AL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" name="Objekt 6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4" name="think-cell Slide" r:id="rId110" imgW="360" imgH="360" progId="TCLayout.ActiveDocument.1">
                  <p:embed/>
                </p:oleObj>
              </mc:Choice>
              <mc:Fallback>
                <p:oleObj name="think-cell Slide" r:id="rId110" imgW="360" imgH="360" progId="TCLayout.ActiveDocument.1">
                  <p:embed/>
                  <p:pic>
                    <p:nvPicPr>
                      <p:cNvPr id="0" name="Picture 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hteck 4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800" b="1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dirty="0" smtClean="0"/>
              <a:t>Shembull – Përpunimi përpara mbërritjes</a:t>
            </a:r>
            <a:endParaRPr lang="sq-AL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8532813" y="6256337"/>
            <a:ext cx="585787" cy="268288"/>
          </a:xfrm>
        </p:spPr>
        <p:txBody>
          <a:bodyPr/>
          <a:lstStyle/>
          <a:p>
            <a:pPr>
              <a:defRPr/>
            </a:pPr>
            <a:fld id="{6042D9F6-4E0E-41D8-BC1F-BF1CE87366CF}" type="slidenum">
              <a:rPr lang="it-IT" smtClean="0"/>
              <a:pPr>
                <a:defRPr/>
              </a:pPr>
              <a:t>18</a:t>
            </a:fld>
            <a:endParaRPr lang="sq-AL"/>
          </a:p>
        </p:txBody>
      </p:sp>
      <p:grpSp>
        <p:nvGrpSpPr>
          <p:cNvPr id="5" name="Gruppieren 4"/>
          <p:cNvGrpSpPr/>
          <p:nvPr>
            <p:custDataLst>
              <p:tags r:id="rId6"/>
            </p:custDataLst>
          </p:nvPr>
        </p:nvGrpSpPr>
        <p:grpSpPr>
          <a:xfrm>
            <a:off x="8316416" y="476672"/>
            <a:ext cx="576064" cy="504056"/>
            <a:chOff x="755576" y="1196752"/>
            <a:chExt cx="5040560" cy="5112568"/>
          </a:xfrm>
        </p:grpSpPr>
        <p:sp>
          <p:nvSpPr>
            <p:cNvPr id="6" name="Rechteck 5"/>
            <p:cNvSpPr/>
            <p:nvPr/>
          </p:nvSpPr>
          <p:spPr>
            <a:xfrm>
              <a:off x="2483768" y="1196752"/>
              <a:ext cx="1584176" cy="36004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>
            <a:xfrm>
              <a:off x="755576" y="1844824"/>
              <a:ext cx="1152128" cy="36004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8" name="Rechteck 7"/>
            <p:cNvSpPr/>
            <p:nvPr/>
          </p:nvSpPr>
          <p:spPr>
            <a:xfrm>
              <a:off x="4644008" y="1844824"/>
              <a:ext cx="1152128" cy="36004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9" name="Rechteck 8"/>
            <p:cNvSpPr/>
            <p:nvPr/>
          </p:nvSpPr>
          <p:spPr>
            <a:xfrm>
              <a:off x="755576" y="234888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0" name="Rechteck 9"/>
            <p:cNvSpPr/>
            <p:nvPr/>
          </p:nvSpPr>
          <p:spPr>
            <a:xfrm>
              <a:off x="755576" y="4437112"/>
              <a:ext cx="1152128" cy="28803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4644008" y="249289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4644008" y="285293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eck 12"/>
            <p:cNvSpPr/>
            <p:nvPr/>
          </p:nvSpPr>
          <p:spPr>
            <a:xfrm>
              <a:off x="2699792" y="1844824"/>
              <a:ext cx="1152128" cy="36004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2699792" y="321297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2699792" y="285293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2699792" y="249289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Gerade Verbindung 16"/>
            <p:cNvCxnSpPr>
              <a:stCxn id="6" idx="2"/>
              <a:endCxn id="13" idx="0"/>
            </p:cNvCxnSpPr>
            <p:nvPr/>
          </p:nvCxnSpPr>
          <p:spPr>
            <a:xfrm>
              <a:off x="3275856" y="1556792"/>
              <a:ext cx="0" cy="28803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Form 35"/>
            <p:cNvCxnSpPr>
              <a:stCxn id="6" idx="2"/>
              <a:endCxn id="7" idx="0"/>
            </p:cNvCxnSpPr>
            <p:nvPr/>
          </p:nvCxnSpPr>
          <p:spPr>
            <a:xfrm rot="5400000">
              <a:off x="2159732" y="728700"/>
              <a:ext cx="288032" cy="1944216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winkelte Verbindung 18"/>
            <p:cNvCxnSpPr>
              <a:stCxn id="6" idx="2"/>
              <a:endCxn id="8" idx="0"/>
            </p:cNvCxnSpPr>
            <p:nvPr/>
          </p:nvCxnSpPr>
          <p:spPr>
            <a:xfrm rot="16200000" flipH="1">
              <a:off x="4103948" y="728700"/>
              <a:ext cx="288032" cy="1944216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winkelte Verbindung 19"/>
            <p:cNvCxnSpPr>
              <a:stCxn id="13" idx="1"/>
              <a:endCxn id="16" idx="1"/>
            </p:cNvCxnSpPr>
            <p:nvPr/>
          </p:nvCxnSpPr>
          <p:spPr>
            <a:xfrm rot="10800000" flipV="1">
              <a:off x="2699792" y="2024844"/>
              <a:ext cx="12700" cy="61206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winkelte Verbindung 20"/>
            <p:cNvCxnSpPr>
              <a:stCxn id="13" idx="1"/>
              <a:endCxn id="15" idx="1"/>
            </p:cNvCxnSpPr>
            <p:nvPr/>
          </p:nvCxnSpPr>
          <p:spPr>
            <a:xfrm rot="10800000" flipV="1">
              <a:off x="2699792" y="2024844"/>
              <a:ext cx="12700" cy="97210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winkelte Verbindung 21"/>
            <p:cNvCxnSpPr>
              <a:stCxn id="13" idx="1"/>
              <a:endCxn id="14" idx="1"/>
            </p:cNvCxnSpPr>
            <p:nvPr/>
          </p:nvCxnSpPr>
          <p:spPr>
            <a:xfrm rot="10800000" flipV="1">
              <a:off x="2699792" y="2024844"/>
              <a:ext cx="12700" cy="133214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winkelte Verbindung 22"/>
            <p:cNvCxnSpPr>
              <a:stCxn id="7" idx="1"/>
              <a:endCxn id="9" idx="1"/>
            </p:cNvCxnSpPr>
            <p:nvPr/>
          </p:nvCxnSpPr>
          <p:spPr>
            <a:xfrm rot="10800000" flipV="1">
              <a:off x="755576" y="2024844"/>
              <a:ext cx="12700" cy="468052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winkelte Verbindung 23"/>
            <p:cNvCxnSpPr>
              <a:stCxn id="7" idx="1"/>
              <a:endCxn id="10" idx="1"/>
            </p:cNvCxnSpPr>
            <p:nvPr/>
          </p:nvCxnSpPr>
          <p:spPr>
            <a:xfrm rot="10800000" flipV="1">
              <a:off x="755576" y="2024844"/>
              <a:ext cx="12700" cy="2556284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winkelte Verbindung 24"/>
            <p:cNvCxnSpPr>
              <a:stCxn id="8" idx="1"/>
              <a:endCxn id="11" idx="1"/>
            </p:cNvCxnSpPr>
            <p:nvPr/>
          </p:nvCxnSpPr>
          <p:spPr>
            <a:xfrm rot="10800000" flipV="1">
              <a:off x="4644008" y="2024844"/>
              <a:ext cx="12700" cy="61206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winkelte Verbindung 25"/>
            <p:cNvCxnSpPr>
              <a:stCxn id="8" idx="1"/>
              <a:endCxn id="12" idx="1"/>
            </p:cNvCxnSpPr>
            <p:nvPr/>
          </p:nvCxnSpPr>
          <p:spPr>
            <a:xfrm rot="10800000" flipV="1">
              <a:off x="4644008" y="2024844"/>
              <a:ext cx="12700" cy="97210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echteck 26"/>
            <p:cNvSpPr/>
            <p:nvPr/>
          </p:nvSpPr>
          <p:spPr>
            <a:xfrm>
              <a:off x="899592" y="270892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899592" y="306896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899592" y="342900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899592" y="393305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1" name="Rechteck 30"/>
            <p:cNvSpPr/>
            <p:nvPr/>
          </p:nvSpPr>
          <p:spPr>
            <a:xfrm>
              <a:off x="899592" y="479715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2" name="Rechteck 31"/>
            <p:cNvSpPr/>
            <p:nvPr/>
          </p:nvSpPr>
          <p:spPr>
            <a:xfrm>
              <a:off x="899592" y="515719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899592" y="551723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899592" y="6021288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cxnSp>
          <p:nvCxnSpPr>
            <p:cNvPr id="35" name="Gewinkelte Verbindung 34"/>
            <p:cNvCxnSpPr>
              <a:stCxn id="9" idx="1"/>
              <a:endCxn id="27" idx="1"/>
            </p:cNvCxnSpPr>
            <p:nvPr/>
          </p:nvCxnSpPr>
          <p:spPr>
            <a:xfrm rot="10800000" flipH="1" flipV="1">
              <a:off x="755576" y="2492896"/>
              <a:ext cx="144016" cy="360040"/>
            </a:xfrm>
            <a:prstGeom prst="bentConnector3">
              <a:avLst>
                <a:gd name="adj1" fmla="val -64668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winkelte Verbindung 35"/>
            <p:cNvCxnSpPr>
              <a:stCxn id="9" idx="1"/>
              <a:endCxn id="28" idx="1"/>
            </p:cNvCxnSpPr>
            <p:nvPr/>
          </p:nvCxnSpPr>
          <p:spPr>
            <a:xfrm rot="10800000" flipH="1" flipV="1">
              <a:off x="755576" y="2492896"/>
              <a:ext cx="144016" cy="720080"/>
            </a:xfrm>
            <a:prstGeom prst="bentConnector3">
              <a:avLst>
                <a:gd name="adj1" fmla="val -64669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winkelte Verbindung 36"/>
            <p:cNvCxnSpPr>
              <a:stCxn id="9" idx="1"/>
              <a:endCxn id="29" idx="1"/>
            </p:cNvCxnSpPr>
            <p:nvPr/>
          </p:nvCxnSpPr>
          <p:spPr>
            <a:xfrm rot="10800000" flipH="1" flipV="1">
              <a:off x="755576" y="2492896"/>
              <a:ext cx="144016" cy="1080120"/>
            </a:xfrm>
            <a:prstGeom prst="bentConnector3">
              <a:avLst>
                <a:gd name="adj1" fmla="val -64669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winkelte Verbindung 37"/>
            <p:cNvCxnSpPr>
              <a:stCxn id="9" idx="1"/>
              <a:endCxn id="30" idx="1"/>
            </p:cNvCxnSpPr>
            <p:nvPr/>
          </p:nvCxnSpPr>
          <p:spPr>
            <a:xfrm rot="10800000" flipH="1" flipV="1">
              <a:off x="755576" y="2492896"/>
              <a:ext cx="144016" cy="1584176"/>
            </a:xfrm>
            <a:prstGeom prst="bentConnector3">
              <a:avLst>
                <a:gd name="adj1" fmla="val -64669"/>
              </a:avLst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winkelte Verbindung 38"/>
            <p:cNvCxnSpPr>
              <a:stCxn id="10" idx="1"/>
              <a:endCxn id="31" idx="1"/>
            </p:cNvCxnSpPr>
            <p:nvPr/>
          </p:nvCxnSpPr>
          <p:spPr>
            <a:xfrm rot="10800000" flipH="1" flipV="1">
              <a:off x="755576" y="4581128"/>
              <a:ext cx="144016" cy="360040"/>
            </a:xfrm>
            <a:prstGeom prst="bentConnector3">
              <a:avLst>
                <a:gd name="adj1" fmla="val -61118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Form 88"/>
            <p:cNvCxnSpPr>
              <a:stCxn id="10" idx="1"/>
              <a:endCxn id="32" idx="1"/>
            </p:cNvCxnSpPr>
            <p:nvPr/>
          </p:nvCxnSpPr>
          <p:spPr>
            <a:xfrm rot="10800000" flipH="1" flipV="1">
              <a:off x="755576" y="4581128"/>
              <a:ext cx="144016" cy="720080"/>
            </a:xfrm>
            <a:prstGeom prst="bentConnector3">
              <a:avLst>
                <a:gd name="adj1" fmla="val -63853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Form 90"/>
            <p:cNvCxnSpPr>
              <a:stCxn id="10" idx="1"/>
              <a:endCxn id="33" idx="1"/>
            </p:cNvCxnSpPr>
            <p:nvPr/>
          </p:nvCxnSpPr>
          <p:spPr>
            <a:xfrm rot="10800000" flipH="1" flipV="1">
              <a:off x="755576" y="4581128"/>
              <a:ext cx="144016" cy="1080120"/>
            </a:xfrm>
            <a:prstGeom prst="bentConnector3">
              <a:avLst>
                <a:gd name="adj1" fmla="val -64435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winkelte Verbindung 41"/>
            <p:cNvCxnSpPr>
              <a:stCxn id="10" idx="1"/>
              <a:endCxn id="34" idx="1"/>
            </p:cNvCxnSpPr>
            <p:nvPr/>
          </p:nvCxnSpPr>
          <p:spPr>
            <a:xfrm rot="10800000" flipH="1" flipV="1">
              <a:off x="755576" y="4581128"/>
              <a:ext cx="144016" cy="1584176"/>
            </a:xfrm>
            <a:prstGeom prst="bentConnector3">
              <a:avLst>
                <a:gd name="adj1" fmla="val -64435"/>
              </a:avLst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Rectangle 1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67544" y="1877119"/>
            <a:ext cx="3477518" cy="3524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anchor="ctr"/>
          <a:lstStyle/>
          <a:p>
            <a:pPr algn="ctr">
              <a:spcAft>
                <a:spcPts val="200"/>
              </a:spcAft>
              <a:buClr>
                <a:schemeClr val="tx1"/>
              </a:buClr>
            </a:pPr>
            <a:r>
              <a:rPr lang="en-US" sz="1400" b="1" dirty="0" smtClean="0">
                <a:solidFill>
                  <a:srgbClr val="FFFFFF"/>
                </a:solidFill>
              </a:rPr>
              <a:t>Shpjegim</a:t>
            </a:r>
            <a:endParaRPr lang="sq-AL" sz="1400" b="1" dirty="0">
              <a:solidFill>
                <a:srgbClr val="FFFFFF"/>
              </a:solidFill>
            </a:endParaRPr>
          </a:p>
        </p:txBody>
      </p:sp>
      <p:sp>
        <p:nvSpPr>
          <p:cNvPr id="44" name="Rectangle 1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67544" y="2223194"/>
            <a:ext cx="3477518" cy="379809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marL="179388" indent="-179388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200" dirty="0" smtClean="0"/>
              <a:t>Sipas Studimit për Kohën e Zhdoganimit të kryer nga doganat në Japoni në vitin 2009, koha që i duhej doganave për të zhdoganuar një ngarkesë detare jo sipas mënyrës përpara mbërritjes ishte 4,1 orë, në krahasim me 1,7 orë sipas mënyrës përpara mbërritjes. Në rastin e ngarkesave ajrore, deklaratat përpara mbërritjes e kanë ulur kohën e zhdoganimit nga 60 minuta në 30 minuta.</a:t>
            </a:r>
          </a:p>
          <a:p>
            <a:pPr marL="179388" indent="-179388">
              <a:buClr>
                <a:schemeClr val="tx1"/>
              </a:buClr>
              <a:buFont typeface="Wingdings" pitchFamily="2" charset="2"/>
              <a:buChar char="§"/>
            </a:pPr>
            <a:endParaRPr lang="sq-AL" sz="1200" dirty="0" smtClean="0"/>
          </a:p>
          <a:p>
            <a:pPr marL="179388" indent="-179388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200" dirty="0" smtClean="0"/>
              <a:t>Për më shumë informacion:</a:t>
            </a:r>
          </a:p>
          <a:p>
            <a:pPr marL="357188" lvl="1" indent="-179388">
              <a:buClr>
                <a:schemeClr val="tx1"/>
              </a:buClr>
              <a:buFont typeface="Wingdings" pitchFamily="2" charset="2"/>
              <a:buChar char="§"/>
              <a:tabLst>
                <a:tab pos="357188" algn="l"/>
              </a:tabLst>
            </a:pPr>
            <a:r>
              <a:rPr lang="en-US" sz="1200" dirty="0" smtClean="0"/>
              <a:t>Standardi 3.25 i </a:t>
            </a:r>
            <a:r>
              <a:rPr lang="en-US" sz="1200" dirty="0" smtClean="0">
                <a:hlinkClick r:id="rId112"/>
              </a:rPr>
              <a:t>Konventës së Kiotos, e rishikuar (RKC)</a:t>
            </a:r>
            <a:endParaRPr lang="sq-AL" sz="1200" dirty="0" smtClean="0"/>
          </a:p>
          <a:p>
            <a:pPr marL="357188" lvl="1" indent="-179388">
              <a:buClr>
                <a:schemeClr val="tx1"/>
              </a:buClr>
              <a:buFont typeface="Wingdings" pitchFamily="2" charset="2"/>
              <a:buChar char="§"/>
              <a:tabLst>
                <a:tab pos="357188" algn="l"/>
              </a:tabLst>
            </a:pPr>
            <a:r>
              <a:rPr lang="en-US" sz="1200" dirty="0" smtClean="0">
                <a:hlinkClick r:id="rId113"/>
              </a:rPr>
              <a:t>Udhëzimet e OBT-së për Zhdoganimin e Menjëhershëm</a:t>
            </a:r>
            <a:endParaRPr lang="sq-AL" sz="1200" dirty="0" smtClean="0"/>
          </a:p>
          <a:p>
            <a:pPr marL="357188" lvl="1" indent="-179388">
              <a:buClr>
                <a:schemeClr val="tx1"/>
              </a:buClr>
              <a:buFont typeface="Wingdings" pitchFamily="2" charset="2"/>
              <a:buChar char="§"/>
              <a:tabLst>
                <a:tab pos="357188" algn="l"/>
              </a:tabLst>
            </a:pPr>
            <a:r>
              <a:rPr lang="en-US" sz="1200" dirty="0" smtClean="0">
                <a:hlinkClick r:id="rId114"/>
              </a:rPr>
              <a:t>Udhëzimet # 9 të ICC për doganat</a:t>
            </a:r>
            <a:endParaRPr lang="sq-AL" sz="1200" dirty="0"/>
          </a:p>
        </p:txBody>
      </p:sp>
      <p:graphicFrame>
        <p:nvGraphicFramePr>
          <p:cNvPr id="45" name="Objekt 44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5445125" y="2378075"/>
          <a:ext cx="3095816" cy="12955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" name="Diagramm" r:id="rId115" imgW="3095816" imgH="1295590" progId="MSGraph.Chart.8">
                  <p:embed followColorScheme="full"/>
                </p:oleObj>
              </mc:Choice>
              <mc:Fallback>
                <p:oleObj name="Diagramm" r:id="rId115" imgW="3095816" imgH="1295590" progId="MSGraph.Chart.8">
                  <p:embed followColorScheme="full"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45125" y="2378075"/>
                        <a:ext cx="3095816" cy="12955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30" name="Gerade Verbindung 329"/>
          <p:cNvCxnSpPr/>
          <p:nvPr>
            <p:custDataLst>
              <p:tags r:id="rId10"/>
            </p:custDataLst>
          </p:nvPr>
        </p:nvCxnSpPr>
        <p:spPr bwMode="auto">
          <a:xfrm>
            <a:off x="8083550" y="2478087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1" name="Gerade Verbindung 330"/>
          <p:cNvCxnSpPr/>
          <p:nvPr>
            <p:custDataLst>
              <p:tags r:id="rId11"/>
            </p:custDataLst>
          </p:nvPr>
        </p:nvCxnSpPr>
        <p:spPr bwMode="auto">
          <a:xfrm>
            <a:off x="8255000" y="2478087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2" name="Gerade Verbindung 331"/>
          <p:cNvCxnSpPr/>
          <p:nvPr>
            <p:custDataLst>
              <p:tags r:id="rId12"/>
            </p:custDataLst>
          </p:nvPr>
        </p:nvCxnSpPr>
        <p:spPr bwMode="auto">
          <a:xfrm>
            <a:off x="8435975" y="2478087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Gerade Verbindung 328"/>
          <p:cNvCxnSpPr/>
          <p:nvPr>
            <p:custDataLst>
              <p:tags r:id="rId13"/>
            </p:custDataLst>
          </p:nvPr>
        </p:nvCxnSpPr>
        <p:spPr bwMode="auto">
          <a:xfrm>
            <a:off x="7902575" y="2478087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8" name="Gerade Verbindung 327"/>
          <p:cNvCxnSpPr/>
          <p:nvPr>
            <p:custDataLst>
              <p:tags r:id="rId14"/>
            </p:custDataLst>
          </p:nvPr>
        </p:nvCxnSpPr>
        <p:spPr bwMode="auto">
          <a:xfrm>
            <a:off x="7721600" y="2478087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7" name="Gerade Verbindung 326"/>
          <p:cNvCxnSpPr/>
          <p:nvPr>
            <p:custDataLst>
              <p:tags r:id="rId15"/>
            </p:custDataLst>
          </p:nvPr>
        </p:nvCxnSpPr>
        <p:spPr bwMode="auto">
          <a:xfrm>
            <a:off x="7359650" y="2478087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6" name="Gerade Verbindung 325"/>
          <p:cNvCxnSpPr/>
          <p:nvPr>
            <p:custDataLst>
              <p:tags r:id="rId16"/>
            </p:custDataLst>
          </p:nvPr>
        </p:nvCxnSpPr>
        <p:spPr bwMode="auto">
          <a:xfrm>
            <a:off x="7178675" y="2478087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5" name="Gerade Verbindung 324"/>
          <p:cNvCxnSpPr/>
          <p:nvPr>
            <p:custDataLst>
              <p:tags r:id="rId17"/>
            </p:custDataLst>
          </p:nvPr>
        </p:nvCxnSpPr>
        <p:spPr bwMode="auto">
          <a:xfrm>
            <a:off x="6997700" y="2478087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Gerade Verbindung 323"/>
          <p:cNvCxnSpPr/>
          <p:nvPr>
            <p:custDataLst>
              <p:tags r:id="rId18"/>
            </p:custDataLst>
          </p:nvPr>
        </p:nvCxnSpPr>
        <p:spPr bwMode="auto">
          <a:xfrm>
            <a:off x="6826250" y="2478087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Gerade Verbindung 322"/>
          <p:cNvCxnSpPr/>
          <p:nvPr>
            <p:custDataLst>
              <p:tags r:id="rId19"/>
            </p:custDataLst>
          </p:nvPr>
        </p:nvCxnSpPr>
        <p:spPr bwMode="auto">
          <a:xfrm>
            <a:off x="6645275" y="2478087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2" name="Gerade Verbindung 321"/>
          <p:cNvCxnSpPr/>
          <p:nvPr>
            <p:custDataLst>
              <p:tags r:id="rId20"/>
            </p:custDataLst>
          </p:nvPr>
        </p:nvCxnSpPr>
        <p:spPr bwMode="auto">
          <a:xfrm>
            <a:off x="6464300" y="2478087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1" name="Gerade Verbindung 320"/>
          <p:cNvCxnSpPr/>
          <p:nvPr>
            <p:custDataLst>
              <p:tags r:id="rId21"/>
            </p:custDataLst>
          </p:nvPr>
        </p:nvCxnSpPr>
        <p:spPr bwMode="auto">
          <a:xfrm>
            <a:off x="6292850" y="2478087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Gerade Verbindung 319"/>
          <p:cNvCxnSpPr/>
          <p:nvPr>
            <p:custDataLst>
              <p:tags r:id="rId22"/>
            </p:custDataLst>
          </p:nvPr>
        </p:nvCxnSpPr>
        <p:spPr bwMode="auto">
          <a:xfrm>
            <a:off x="6111875" y="2478087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9" name="Gerade Verbindung 318"/>
          <p:cNvCxnSpPr/>
          <p:nvPr>
            <p:custDataLst>
              <p:tags r:id="rId23"/>
            </p:custDataLst>
          </p:nvPr>
        </p:nvCxnSpPr>
        <p:spPr bwMode="auto">
          <a:xfrm>
            <a:off x="5930900" y="2478087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Gerade Verbindung 317"/>
          <p:cNvCxnSpPr/>
          <p:nvPr>
            <p:custDataLst>
              <p:tags r:id="rId24"/>
            </p:custDataLst>
          </p:nvPr>
        </p:nvCxnSpPr>
        <p:spPr bwMode="auto">
          <a:xfrm>
            <a:off x="5759450" y="2478087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" name="Gerade Verbindung 316"/>
          <p:cNvCxnSpPr/>
          <p:nvPr>
            <p:custDataLst>
              <p:tags r:id="rId25"/>
            </p:custDataLst>
          </p:nvPr>
        </p:nvCxnSpPr>
        <p:spPr bwMode="auto">
          <a:xfrm>
            <a:off x="5578475" y="2478087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380" name="Freihandform 379"/>
          <p:cNvSpPr/>
          <p:nvPr>
            <p:custDataLst>
              <p:tags r:id="rId26"/>
            </p:custDataLst>
          </p:nvPr>
        </p:nvSpPr>
        <p:spPr bwMode="auto">
          <a:xfrm>
            <a:off x="7446962" y="2600325"/>
            <a:ext cx="152401" cy="355601"/>
          </a:xfrm>
          <a:custGeom>
            <a:avLst/>
            <a:gdLst/>
            <a:ahLst/>
            <a:cxnLst/>
            <a:rect l="0" t="0" r="0" b="0"/>
            <a:pathLst>
              <a:path w="152401" h="355601">
                <a:moveTo>
                  <a:pt x="152400" y="0"/>
                </a:moveTo>
                <a:lnTo>
                  <a:pt x="57150" y="355600"/>
                </a:lnTo>
                <a:lnTo>
                  <a:pt x="0" y="355600"/>
                </a:lnTo>
                <a:lnTo>
                  <a:pt x="95250" y="0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 useBgFill="1">
        <p:nvSpPr>
          <p:cNvPr id="313" name="Freihandform 312"/>
          <p:cNvSpPr/>
          <p:nvPr>
            <p:custDataLst>
              <p:tags r:id="rId27"/>
            </p:custDataLst>
          </p:nvPr>
        </p:nvSpPr>
        <p:spPr bwMode="auto">
          <a:xfrm>
            <a:off x="7475537" y="2439987"/>
            <a:ext cx="95251" cy="146051"/>
          </a:xfrm>
          <a:custGeom>
            <a:avLst/>
            <a:gdLst/>
            <a:ahLst/>
            <a:cxnLst/>
            <a:rect l="0" t="0" r="0" b="0"/>
            <a:pathLst>
              <a:path w="95251" h="146051">
                <a:moveTo>
                  <a:pt x="95250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8100" y="0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379" name="Freihandform 378"/>
          <p:cNvSpPr/>
          <p:nvPr>
            <p:custDataLst>
              <p:tags r:id="rId28"/>
            </p:custDataLst>
          </p:nvPr>
        </p:nvSpPr>
        <p:spPr bwMode="auto">
          <a:xfrm>
            <a:off x="7504112" y="2600325"/>
            <a:ext cx="95251" cy="355601"/>
          </a:xfrm>
          <a:custGeom>
            <a:avLst/>
            <a:gdLst/>
            <a:ahLst/>
            <a:cxnLst/>
            <a:rect l="0" t="0" r="0" b="0"/>
            <a:pathLst>
              <a:path w="95251" h="355601">
                <a:moveTo>
                  <a:pt x="95250" y="0"/>
                </a:moveTo>
                <a:lnTo>
                  <a:pt x="0" y="35560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8" name="Freihandform 377"/>
          <p:cNvSpPr/>
          <p:nvPr>
            <p:custDataLst>
              <p:tags r:id="rId29"/>
            </p:custDataLst>
          </p:nvPr>
        </p:nvSpPr>
        <p:spPr bwMode="auto">
          <a:xfrm>
            <a:off x="7446962" y="2600325"/>
            <a:ext cx="95251" cy="355601"/>
          </a:xfrm>
          <a:custGeom>
            <a:avLst/>
            <a:gdLst/>
            <a:ahLst/>
            <a:cxnLst/>
            <a:rect l="0" t="0" r="0" b="0"/>
            <a:pathLst>
              <a:path w="95251" h="355601">
                <a:moveTo>
                  <a:pt x="95250" y="0"/>
                </a:moveTo>
                <a:lnTo>
                  <a:pt x="0" y="35560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2" name="Freihandform 311"/>
          <p:cNvSpPr/>
          <p:nvPr>
            <p:custDataLst>
              <p:tags r:id="rId30"/>
            </p:custDataLst>
          </p:nvPr>
        </p:nvSpPr>
        <p:spPr bwMode="auto">
          <a:xfrm>
            <a:off x="7532687" y="2439987"/>
            <a:ext cx="38101" cy="146051"/>
          </a:xfrm>
          <a:custGeom>
            <a:avLst/>
            <a:gdLst/>
            <a:ahLst/>
            <a:cxnLst/>
            <a:rect l="0" t="0" r="0" b="0"/>
            <a:pathLst>
              <a:path w="38101" h="146051">
                <a:moveTo>
                  <a:pt x="38100" y="0"/>
                </a:moveTo>
                <a:lnTo>
                  <a:pt x="0" y="1460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1" name="Freihandform 310"/>
          <p:cNvSpPr/>
          <p:nvPr>
            <p:custDataLst>
              <p:tags r:id="rId31"/>
            </p:custDataLst>
          </p:nvPr>
        </p:nvSpPr>
        <p:spPr bwMode="auto">
          <a:xfrm>
            <a:off x="7475537" y="2439987"/>
            <a:ext cx="38101" cy="146051"/>
          </a:xfrm>
          <a:custGeom>
            <a:avLst/>
            <a:gdLst/>
            <a:ahLst/>
            <a:cxnLst/>
            <a:rect l="0" t="0" r="0" b="0"/>
            <a:pathLst>
              <a:path w="38101" h="146051">
                <a:moveTo>
                  <a:pt x="38100" y="0"/>
                </a:moveTo>
                <a:lnTo>
                  <a:pt x="0" y="1460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6" name="Segnaposto testo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8521700" y="2451100"/>
            <a:ext cx="28257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sz="800" dirty="0" smtClean="0">
                <a:solidFill>
                  <a:schemeClr val="tx1"/>
                </a:solidFill>
                <a:latin typeface="TitilliumText14L"/>
                <a:sym typeface="TitilliumText14L"/>
              </a:rPr>
              <a:t>orët</a:t>
            </a:r>
          </a:p>
        </p:txBody>
      </p:sp>
      <p:sp>
        <p:nvSpPr>
          <p:cNvPr id="232" name="Segnaposto testo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378825" y="2297112"/>
            <a:ext cx="1143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C1ECE54-0ECE-4869-A734-321CBDF49252}" type="datetime'''''''''''''''''''''''''''''27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27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31" name="Segnaposto testo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8197850" y="2297112"/>
            <a:ext cx="1143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37932EB-C617-488D-AC7A-5E15B58AC5D2}" type="datetime'''''''''''''2''''''''''''''''''''''''''''6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26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30" name="Segnaposto testo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8026400" y="2297112"/>
            <a:ext cx="1143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4C90898-3C65-4966-85B3-F3CC4FC4592A}" type="datetime'''''''''2''''5''''''''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25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29" name="Segnaposto testo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845425" y="2297112"/>
            <a:ext cx="1143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1C182DB-F0A4-4C09-B12D-982FBC122BA7}" type="datetime'2''''''''''''''''''''''''''''''''''''''''''''''''''''''''4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24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28" name="Segnaposto testo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664450" y="2297112"/>
            <a:ext cx="1143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8D7ECEE-B85F-486D-A1A5-0A39D0C5817E}" type="datetime'''''''''''''''''2''''''''''''''''''''''3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23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27" name="Segnaposto testo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302500" y="2297112"/>
            <a:ext cx="1143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F62ABFE-638F-4D71-8D4A-8FBB7F233936}" type="datetime'''''''''''''''''''''''''''''''''''''1''''''''''''''0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10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26" name="Segnaposto testo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150100" y="2297112"/>
            <a:ext cx="5715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EDA603A-F9BB-40FF-ADD7-A83C72530707}" type="datetime'9''''''''''''''''''''''''''''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9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25" name="Segnaposto testo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6969125" y="2297112"/>
            <a:ext cx="5715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4CBD867-7D8F-4D03-82D0-537488749657}" type="datetime'''''''''''''''''''''''''8''''''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8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24" name="Segnaposto testo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6797675" y="2297112"/>
            <a:ext cx="5715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4BC09A4-8BF8-4899-80AA-8FA86982C607}" type="datetime'''''''''''7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7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23" name="Segnaposto testo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6616700" y="2297112"/>
            <a:ext cx="5715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F5CDA51-E8CE-45FA-BC39-A6D238C50384}" type="datetime'''''''''''''''''''''''''''''''''''6''''''''''''''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6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22" name="Segnaposto testo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6435725" y="2297112"/>
            <a:ext cx="5715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EAAF4B8-3301-404C-9DB4-8E854D5430B3}" type="datetime'''''''''''''''''''''''''''5''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5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21" name="Segnaposto testo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6264275" y="2297112"/>
            <a:ext cx="5715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4EA45C9-338E-4A48-A28C-2DF581ED907B}" type="datetime'''''''''''''''''''''''''''''''''''''4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4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20" name="Segnaposto testo 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6083300" y="2297112"/>
            <a:ext cx="5715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808EB97-C2A1-49B4-B41D-2155A780215A}" type="datetime'3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3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19" name="Segnaposto testo 2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5902325" y="2297112"/>
            <a:ext cx="5715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002E491-3198-4004-9D4D-7A4397262559}" type="datetime'''''''''2''''''''''''''''''''''''''''''''''''''''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2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18" name="Segnaposto testo 2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5730875" y="2297112"/>
            <a:ext cx="5715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EEEE414-56BF-4C4F-9F0B-835B332144E7}" type="datetime'''''''1''''''''''''''''''''''''''''''''''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1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17" name="Segnaposto testo 2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5549900" y="2297112"/>
            <a:ext cx="5715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5F2D466-64DC-4C62-94E8-848113D73901}" type="datetime'''''''''''''''''''''''''''''''''''''''''''0''''''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0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63" name="Segnaposto testo 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4970462" y="3246437"/>
            <a:ext cx="506412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0190F8EB-EC7F-4F64-954E-E45400F21A46}" type="datetime'''''''''''''''P''re-''a''''rr''''i''''''''va''''''''''''''''l'">
              <a:rPr lang="en-US" sz="800" smtClean="0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buNone/>
              </a:pPr>
              <a:t>Pre-arrival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95" name="Segnaposto testo 2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5834062" y="3246437"/>
            <a:ext cx="23177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5875" tIns="0" rIns="1587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8BD6B23-1C6F-4AE0-9184-B3EACF1198CB}" type="datetime'''''''''4''''.''''''''''''''''2''''''''''''''''0'''''''">
              <a:rPr lang="en-US" sz="8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buNone/>
              </a:pPr>
              <a:t>4.20</a:t>
            </a:fld>
            <a:endParaRPr lang="sq-AL" sz="800" dirty="0" smtClean="0">
              <a:solidFill>
                <a:schemeClr val="bg1"/>
              </a:solidFill>
              <a:latin typeface="TitilliumText14L"/>
              <a:sym typeface="TitilliumText14L"/>
            </a:endParaRPr>
          </a:p>
        </p:txBody>
      </p:sp>
      <p:sp>
        <p:nvSpPr>
          <p:cNvPr id="94" name="Segnaposto testo 2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6262687" y="3319462"/>
            <a:ext cx="231775" cy="122237"/>
          </a:xfrm>
          <a:prstGeom prst="rect">
            <a:avLst/>
          </a:prstGeom>
          <a:solidFill>
            <a:srgbClr val="AFE06E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15875" tIns="0" rIns="1587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2E0CCE8-0395-4057-95C9-874604A7A68D}" type="datetime'0''''''''.''''''''6''0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0.60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84" name="Segnaposto testo 2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6343650" y="3171825"/>
            <a:ext cx="231775" cy="122237"/>
          </a:xfrm>
          <a:prstGeom prst="rect">
            <a:avLst/>
          </a:prstGeom>
          <a:solidFill>
            <a:srgbClr val="EFB64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15875" tIns="0" rIns="1587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18AE9B0-A3FD-441C-A3D7-7D7293816143}" type="datetime'''''''0''''''''''''.''''''''''''3''''''''''''0''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0.30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46" name="Segnaposto testo 2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4751387" y="2717800"/>
            <a:ext cx="725487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B5261DB7-E83D-416B-9FBA-B4F344A50301}" type="datetime'''''N''''''''o''''n-''p''''re'' ar''rival'''''">
              <a:rPr lang="en-US" sz="800" smtClean="0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buNone/>
              </a:pPr>
              <a:t>Non-pre arrival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82" name="Segnaposto testo 2"/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6086475" y="2717800"/>
            <a:ext cx="23177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5875" tIns="0" rIns="1587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D9DEDA0-8F17-4BC8-A943-23C68030DD72}" type="datetime'''''''''''''''7''.0''0'''''''''''''''">
              <a:rPr lang="en-US" sz="8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buNone/>
              </a:pPr>
              <a:t>7.00</a:t>
            </a:fld>
            <a:endParaRPr lang="sq-AL" sz="800" dirty="0" smtClean="0">
              <a:solidFill>
                <a:schemeClr val="bg1"/>
              </a:solidFill>
              <a:latin typeface="TitilliumText14L"/>
              <a:sym typeface="TitilliumText14L"/>
            </a:endParaRPr>
          </a:p>
        </p:txBody>
      </p:sp>
      <p:sp useBgFill="1">
        <p:nvSpPr>
          <p:cNvPr id="56" name="Segnaposto testo 2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7627937" y="2717800"/>
            <a:ext cx="2889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5875" tIns="0" rIns="1587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C4A84E2-BFD9-41CD-970B-DD52AA938066}" type="datetime'1''''''''''''''8''''''''''''''.''''8''''''''0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18.80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83" name="Segnaposto testo 2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8162925" y="2717800"/>
            <a:ext cx="231775" cy="122237"/>
          </a:xfrm>
          <a:prstGeom prst="rect">
            <a:avLst/>
          </a:prstGeom>
          <a:solidFill>
            <a:srgbClr val="EFB64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15875" tIns="0" rIns="1587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4A427B1-9FC5-4A8E-8827-116BB0D5BDA2}" type="datetime'''''0.''''''''''''''''''''''''''''''6''''''0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0.60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15" name="Textfeld 114"/>
          <p:cNvSpPr txBox="1"/>
          <p:nvPr>
            <p:custDataLst>
              <p:tags r:id="rId57"/>
            </p:custDataLst>
          </p:nvPr>
        </p:nvSpPr>
        <p:spPr>
          <a:xfrm>
            <a:off x="6036685" y="1927865"/>
            <a:ext cx="2917786" cy="26161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100" b="1" dirty="0" smtClean="0">
                <a:solidFill>
                  <a:schemeClr val="tx2"/>
                </a:solidFill>
              </a:rPr>
              <a:t>Koha e zhdoganimit për ngarkesat ajrore</a:t>
            </a:r>
            <a:endParaRPr lang="sq-AL" sz="1100" b="1" dirty="0">
              <a:solidFill>
                <a:schemeClr val="tx2"/>
              </a:solidFill>
            </a:endParaRPr>
          </a:p>
        </p:txBody>
      </p:sp>
      <p:graphicFrame>
        <p:nvGraphicFramePr>
          <p:cNvPr id="120" name="Objekt 119"/>
          <p:cNvGraphicFramePr>
            <a:graphicFrameLocks noChangeAspect="1"/>
          </p:cNvGraphicFramePr>
          <p:nvPr>
            <p:custDataLst>
              <p:tags r:id="rId58"/>
            </p:custDataLst>
          </p:nvPr>
        </p:nvGraphicFramePr>
        <p:xfrm>
          <a:off x="5445125" y="4240212"/>
          <a:ext cx="3095816" cy="1438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6" name="Diagramm" r:id="rId117" imgW="3095816" imgH="1438465" progId="MSGraph.Chart.8">
                  <p:embed followColorScheme="full"/>
                </p:oleObj>
              </mc:Choice>
              <mc:Fallback>
                <p:oleObj name="Diagramm" r:id="rId117" imgW="3095816" imgH="1438465" progId="MSGraph.Chart.8">
                  <p:embed followColorScheme="full"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45125" y="4240212"/>
                        <a:ext cx="3095816" cy="1438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57" name="Gerade Verbindung 356"/>
          <p:cNvCxnSpPr/>
          <p:nvPr>
            <p:custDataLst>
              <p:tags r:id="rId59"/>
            </p:custDataLst>
          </p:nvPr>
        </p:nvCxnSpPr>
        <p:spPr bwMode="auto">
          <a:xfrm>
            <a:off x="7121525" y="4340225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2" name="Gerade Verbindung 361"/>
          <p:cNvCxnSpPr/>
          <p:nvPr>
            <p:custDataLst>
              <p:tags r:id="rId60"/>
            </p:custDataLst>
          </p:nvPr>
        </p:nvCxnSpPr>
        <p:spPr bwMode="auto">
          <a:xfrm>
            <a:off x="8435975" y="4340225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8" name="Gerade Verbindung 357"/>
          <p:cNvCxnSpPr/>
          <p:nvPr>
            <p:custDataLst>
              <p:tags r:id="rId61"/>
            </p:custDataLst>
          </p:nvPr>
        </p:nvCxnSpPr>
        <p:spPr bwMode="auto">
          <a:xfrm>
            <a:off x="7388225" y="4340225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9" name="Gerade Verbindung 358"/>
          <p:cNvCxnSpPr/>
          <p:nvPr>
            <p:custDataLst>
              <p:tags r:id="rId62"/>
            </p:custDataLst>
          </p:nvPr>
        </p:nvCxnSpPr>
        <p:spPr bwMode="auto">
          <a:xfrm>
            <a:off x="7645400" y="4340225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4" name="Gerade Verbindung 353"/>
          <p:cNvCxnSpPr/>
          <p:nvPr>
            <p:custDataLst>
              <p:tags r:id="rId63"/>
            </p:custDataLst>
          </p:nvPr>
        </p:nvCxnSpPr>
        <p:spPr bwMode="auto">
          <a:xfrm>
            <a:off x="6330950" y="4340225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0" name="Gerade Verbindung 359"/>
          <p:cNvCxnSpPr/>
          <p:nvPr>
            <p:custDataLst>
              <p:tags r:id="rId64"/>
            </p:custDataLst>
          </p:nvPr>
        </p:nvCxnSpPr>
        <p:spPr bwMode="auto">
          <a:xfrm>
            <a:off x="7912100" y="4340225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Gerade Verbindung 360"/>
          <p:cNvCxnSpPr/>
          <p:nvPr>
            <p:custDataLst>
              <p:tags r:id="rId65"/>
            </p:custDataLst>
          </p:nvPr>
        </p:nvCxnSpPr>
        <p:spPr bwMode="auto">
          <a:xfrm>
            <a:off x="8169275" y="4340225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2" name="Gerade Verbindung 351"/>
          <p:cNvCxnSpPr/>
          <p:nvPr>
            <p:custDataLst>
              <p:tags r:id="rId66"/>
            </p:custDataLst>
          </p:nvPr>
        </p:nvCxnSpPr>
        <p:spPr bwMode="auto">
          <a:xfrm>
            <a:off x="5578475" y="4340225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6" name="Gerade Verbindung 355"/>
          <p:cNvCxnSpPr/>
          <p:nvPr>
            <p:custDataLst>
              <p:tags r:id="rId67"/>
            </p:custDataLst>
          </p:nvPr>
        </p:nvCxnSpPr>
        <p:spPr bwMode="auto">
          <a:xfrm>
            <a:off x="6854825" y="4340225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3" name="Gerade Verbindung 352"/>
          <p:cNvCxnSpPr/>
          <p:nvPr>
            <p:custDataLst>
              <p:tags r:id="rId68"/>
            </p:custDataLst>
          </p:nvPr>
        </p:nvCxnSpPr>
        <p:spPr bwMode="auto">
          <a:xfrm>
            <a:off x="6064250" y="4340225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Gerade Verbindung 354"/>
          <p:cNvCxnSpPr/>
          <p:nvPr>
            <p:custDataLst>
              <p:tags r:id="rId69"/>
            </p:custDataLst>
          </p:nvPr>
        </p:nvCxnSpPr>
        <p:spPr bwMode="auto">
          <a:xfrm>
            <a:off x="6597650" y="4340225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377" name="Freihandform 376"/>
          <p:cNvSpPr/>
          <p:nvPr>
            <p:custDataLst>
              <p:tags r:id="rId70"/>
            </p:custDataLst>
          </p:nvPr>
        </p:nvSpPr>
        <p:spPr bwMode="auto">
          <a:xfrm>
            <a:off x="5738812" y="4478337"/>
            <a:ext cx="163514" cy="395289"/>
          </a:xfrm>
          <a:custGeom>
            <a:avLst/>
            <a:gdLst/>
            <a:ahLst/>
            <a:cxnLst/>
            <a:rect l="0" t="0" r="0" b="0"/>
            <a:pathLst>
              <a:path w="163514" h="395289">
                <a:moveTo>
                  <a:pt x="163513" y="0"/>
                </a:moveTo>
                <a:lnTo>
                  <a:pt x="57150" y="395288"/>
                </a:lnTo>
                <a:lnTo>
                  <a:pt x="0" y="395288"/>
                </a:lnTo>
                <a:lnTo>
                  <a:pt x="106363" y="0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 useBgFill="1">
        <p:nvSpPr>
          <p:cNvPr id="345" name="Freihandform 344"/>
          <p:cNvSpPr/>
          <p:nvPr>
            <p:custDataLst>
              <p:tags r:id="rId71"/>
            </p:custDataLst>
          </p:nvPr>
        </p:nvSpPr>
        <p:spPr bwMode="auto">
          <a:xfrm>
            <a:off x="5772150" y="4302125"/>
            <a:ext cx="95251" cy="146051"/>
          </a:xfrm>
          <a:custGeom>
            <a:avLst/>
            <a:gdLst/>
            <a:ahLst/>
            <a:cxnLst/>
            <a:rect l="0" t="0" r="0" b="0"/>
            <a:pathLst>
              <a:path w="95251" h="146051">
                <a:moveTo>
                  <a:pt x="95250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8100" y="0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 useBgFill="1">
        <p:nvSpPr>
          <p:cNvPr id="351" name="Freihandform 350"/>
          <p:cNvSpPr/>
          <p:nvPr>
            <p:custDataLst>
              <p:tags r:id="rId72"/>
            </p:custDataLst>
          </p:nvPr>
        </p:nvSpPr>
        <p:spPr bwMode="auto">
          <a:xfrm>
            <a:off x="5738812" y="5080000"/>
            <a:ext cx="161926" cy="393701"/>
          </a:xfrm>
          <a:custGeom>
            <a:avLst/>
            <a:gdLst/>
            <a:ahLst/>
            <a:cxnLst/>
            <a:rect l="0" t="0" r="0" b="0"/>
            <a:pathLst>
              <a:path w="161926" h="393701">
                <a:moveTo>
                  <a:pt x="161925" y="0"/>
                </a:moveTo>
                <a:lnTo>
                  <a:pt x="57150" y="393700"/>
                </a:lnTo>
                <a:lnTo>
                  <a:pt x="0" y="393700"/>
                </a:lnTo>
                <a:lnTo>
                  <a:pt x="104775" y="0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343" name="Freihandform 342"/>
          <p:cNvSpPr/>
          <p:nvPr>
            <p:custDataLst>
              <p:tags r:id="rId73"/>
            </p:custDataLst>
          </p:nvPr>
        </p:nvSpPr>
        <p:spPr bwMode="auto">
          <a:xfrm>
            <a:off x="5772150" y="4302125"/>
            <a:ext cx="38101" cy="146051"/>
          </a:xfrm>
          <a:custGeom>
            <a:avLst/>
            <a:gdLst/>
            <a:ahLst/>
            <a:cxnLst/>
            <a:rect l="0" t="0" r="0" b="0"/>
            <a:pathLst>
              <a:path w="38101" h="146051">
                <a:moveTo>
                  <a:pt x="38100" y="0"/>
                </a:moveTo>
                <a:lnTo>
                  <a:pt x="0" y="1460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5" name="Freihandform 374"/>
          <p:cNvSpPr/>
          <p:nvPr>
            <p:custDataLst>
              <p:tags r:id="rId74"/>
            </p:custDataLst>
          </p:nvPr>
        </p:nvSpPr>
        <p:spPr bwMode="auto">
          <a:xfrm>
            <a:off x="5738812" y="4478337"/>
            <a:ext cx="106364" cy="395289"/>
          </a:xfrm>
          <a:custGeom>
            <a:avLst/>
            <a:gdLst/>
            <a:ahLst/>
            <a:cxnLst/>
            <a:rect l="0" t="0" r="0" b="0"/>
            <a:pathLst>
              <a:path w="106364" h="395289">
                <a:moveTo>
                  <a:pt x="106363" y="0"/>
                </a:moveTo>
                <a:lnTo>
                  <a:pt x="0" y="395288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6" name="Freihandform 375"/>
          <p:cNvSpPr/>
          <p:nvPr>
            <p:custDataLst>
              <p:tags r:id="rId75"/>
            </p:custDataLst>
          </p:nvPr>
        </p:nvSpPr>
        <p:spPr bwMode="auto">
          <a:xfrm>
            <a:off x="5795962" y="4478337"/>
            <a:ext cx="106364" cy="395289"/>
          </a:xfrm>
          <a:custGeom>
            <a:avLst/>
            <a:gdLst/>
            <a:ahLst/>
            <a:cxnLst/>
            <a:rect l="0" t="0" r="0" b="0"/>
            <a:pathLst>
              <a:path w="106364" h="395289">
                <a:moveTo>
                  <a:pt x="106363" y="0"/>
                </a:moveTo>
                <a:lnTo>
                  <a:pt x="0" y="395288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9" name="Freihandform 348"/>
          <p:cNvSpPr/>
          <p:nvPr>
            <p:custDataLst>
              <p:tags r:id="rId76"/>
            </p:custDataLst>
          </p:nvPr>
        </p:nvSpPr>
        <p:spPr bwMode="auto">
          <a:xfrm>
            <a:off x="5738812" y="5080000"/>
            <a:ext cx="104776" cy="393701"/>
          </a:xfrm>
          <a:custGeom>
            <a:avLst/>
            <a:gdLst/>
            <a:ahLst/>
            <a:cxnLst/>
            <a:rect l="0" t="0" r="0" b="0"/>
            <a:pathLst>
              <a:path w="104776" h="393701">
                <a:moveTo>
                  <a:pt x="104775" y="0"/>
                </a:moveTo>
                <a:lnTo>
                  <a:pt x="0" y="39370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0" name="Freihandform 349"/>
          <p:cNvSpPr/>
          <p:nvPr>
            <p:custDataLst>
              <p:tags r:id="rId77"/>
            </p:custDataLst>
          </p:nvPr>
        </p:nvSpPr>
        <p:spPr bwMode="auto">
          <a:xfrm>
            <a:off x="5795962" y="5080000"/>
            <a:ext cx="104776" cy="393701"/>
          </a:xfrm>
          <a:custGeom>
            <a:avLst/>
            <a:gdLst/>
            <a:ahLst/>
            <a:cxnLst/>
            <a:rect l="0" t="0" r="0" b="0"/>
            <a:pathLst>
              <a:path w="104776" h="393701">
                <a:moveTo>
                  <a:pt x="104775" y="0"/>
                </a:moveTo>
                <a:lnTo>
                  <a:pt x="0" y="39370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4" name="Freihandform 343"/>
          <p:cNvSpPr/>
          <p:nvPr>
            <p:custDataLst>
              <p:tags r:id="rId78"/>
            </p:custDataLst>
          </p:nvPr>
        </p:nvSpPr>
        <p:spPr bwMode="auto">
          <a:xfrm>
            <a:off x="5829300" y="4302125"/>
            <a:ext cx="38101" cy="146051"/>
          </a:xfrm>
          <a:custGeom>
            <a:avLst/>
            <a:gdLst/>
            <a:ahLst/>
            <a:cxnLst/>
            <a:rect l="0" t="0" r="0" b="0"/>
            <a:pathLst>
              <a:path w="38101" h="146051">
                <a:moveTo>
                  <a:pt x="38100" y="0"/>
                </a:moveTo>
                <a:lnTo>
                  <a:pt x="0" y="1460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2" name="Segnaposto testo 2"/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8378825" y="4159250"/>
            <a:ext cx="1143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B21D9F7-F17B-4719-8F9C-6AA162675848}" type="datetime'''''''''''''''''''7''''''''''''''''''''''''''''''''''''0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70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61" name="Segnaposto testo 2"/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8521700" y="4313237"/>
            <a:ext cx="28257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sz="800" dirty="0" smtClean="0">
                <a:solidFill>
                  <a:schemeClr val="tx1"/>
                </a:solidFill>
                <a:latin typeface="TitilliumText14L"/>
                <a:sym typeface="TitilliumText14L"/>
              </a:rPr>
              <a:t>orët</a:t>
            </a:r>
          </a:p>
        </p:txBody>
      </p:sp>
      <p:sp>
        <p:nvSpPr>
          <p:cNvPr id="271" name="Segnaposto testo 2"/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8112125" y="4159250"/>
            <a:ext cx="1143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4B0C701-9D6F-435D-91EF-961A93E4FF98}" type="datetime'''''''6''5''''''''''''''''''''''''''''''''''''''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65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70" name="Segnaposto testo 2"/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7854950" y="4159250"/>
            <a:ext cx="1143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60AD722-C63C-4209-B1B0-44D0333AE8FC}" type="datetime'''''''''''''''''''''''''6''''''''0''''''''''''''''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60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69" name="Segnaposto testo 2"/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7588250" y="4159250"/>
            <a:ext cx="1143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C9F630A-05BF-4D80-AB4C-BEA2A7492685}" type="datetime'''''''5''''''''''''''''''5''''''''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55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68" name="Segnaposto testo 2"/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7331075" y="4159250"/>
            <a:ext cx="1143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10B97A8-3185-4CE7-99DF-2006D1BE0A99}" type="datetime'''''''''''''''''''''''''''5''''''''''''''''''''0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50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67" name="Segnaposto testo 2"/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7064375" y="4159250"/>
            <a:ext cx="1143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8E04D3D-AC4F-40EA-8E58-8DEC6AA4268E}" type="datetime'''''''''''''''''''''''''''''''''''''''4''''''''''5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45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66" name="Segnaposto testo 2"/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6797675" y="4159250"/>
            <a:ext cx="1143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1A1E9E0-1C36-4980-9CDC-ACE46A10E6EA}" type="datetime'''''''''''''''''''''''''''''''''''''''''''''''''4''''''''''0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40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65" name="Segnaposto testo 2"/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6540500" y="4159250"/>
            <a:ext cx="1143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8C9096A-C47C-4872-B9C1-7613C28D2566}" type="datetime'''''''3''''''''''''5''''''''''''''''''''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35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64" name="Segnaposto testo 2"/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6273800" y="4159250"/>
            <a:ext cx="1143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E64A529-75B7-4F2E-AEE8-0BF6B65E24AB}" type="datetime'''''3''''''''''0''''''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30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63" name="Segnaposto testo 2"/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6007100" y="4159250"/>
            <a:ext cx="1143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98B1C6C-B258-4346-999D-93CF7506B387}" type="datetime'''''''''''''''2''''''''''''''''''''5''''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25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62" name="Segnaposto testo 2"/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5549900" y="4159250"/>
            <a:ext cx="5715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185B9AD-7D41-4927-AA1D-0887988BFE37}" type="datetime'''''''''''''''''''''''''0''''''''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0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36" name="Segnaposto testo 2"/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4970462" y="5208587"/>
            <a:ext cx="506412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6E4C750-955A-4927-B4E2-B1A0C52E4883}" type="datetime'Pr''''e-''''''arr''''i''''v''''a''''''''l'''''''''''''''">
              <a:rPr lang="en-US" sz="800" smtClean="0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buNone/>
              </a:pPr>
              <a:t>Pre-arrival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32" name="Segnaposto testo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5907087" y="5208587"/>
            <a:ext cx="2889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5875" tIns="0" rIns="1587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91F1443-8588-40E4-B9EC-251958F4E63D}" type="datetime'''''''''''''''''''''''''2''''''8''.''4''''''''''''''''''0'''''">
              <a:rPr lang="en-US" sz="8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buNone/>
              </a:pPr>
              <a:t>28.40</a:t>
            </a:fld>
            <a:endParaRPr lang="sq-AL" sz="800" dirty="0" smtClean="0">
              <a:solidFill>
                <a:schemeClr val="bg1"/>
              </a:solidFill>
              <a:latin typeface="TitilliumText14L"/>
              <a:sym typeface="TitilliumText14L"/>
            </a:endParaRPr>
          </a:p>
        </p:txBody>
      </p:sp>
      <p:sp>
        <p:nvSpPr>
          <p:cNvPr id="131" name="Segnaposto testo 2"/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6672262" y="5208587"/>
            <a:ext cx="2889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5875" tIns="0" rIns="1587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FDBC4F0-643F-48C2-986D-DC8DD0D33DDF}" type="datetime'''2''''''''''''''1.''''''''''''''6''''''''''''''''0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21.60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30" name="Segnaposto testo 2"/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7315200" y="5208587"/>
            <a:ext cx="231775" cy="122237"/>
          </a:xfrm>
          <a:prstGeom prst="rect">
            <a:avLst/>
          </a:prstGeom>
          <a:solidFill>
            <a:srgbClr val="EFB64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15875" tIns="0" rIns="1587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D17A9EB-59A0-4681-B74A-CEFC2706F96F}" type="datetime'''''''1''.''''''''''''''7''''''''''''0''''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1.70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37" name="Segnaposto testo 2"/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4751387" y="4613275"/>
            <a:ext cx="725487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04E38C84-C2C3-4409-8C98-F686DE43C245}" type="datetime'No''''''n''-pr''e'' ''''''''''ar''''''''''''''ri''val'''">
              <a:rPr lang="en-US" sz="800" smtClean="0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buNone/>
              </a:pPr>
              <a:t>Non-pre arrival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29" name="Segnaposto testo 2"/>
          <p:cNvSpPr>
            <a:spLocks noGrp="1"/>
          </p:cNvSpPr>
          <p:nvPr>
            <p:custDataLst>
              <p:tags r:id="rId96"/>
            </p:custDataLst>
          </p:nvPr>
        </p:nvSpPr>
        <p:spPr bwMode="gray">
          <a:xfrm>
            <a:off x="5672137" y="4613275"/>
            <a:ext cx="288925" cy="122237"/>
          </a:xfrm>
          <a:prstGeom prst="rect">
            <a:avLst/>
          </a:prstGeom>
          <a:solidFill>
            <a:srgbClr val="066BB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15875" tIns="0" rIns="1587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7AA7A38-96B3-4640-B8D1-8E985260D5FD}" type="datetime'2''''''4''.''''''''8''0'">
              <a:rPr lang="en-US" sz="8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buNone/>
              </a:pPr>
              <a:t>24.80</a:t>
            </a:fld>
            <a:endParaRPr lang="sq-AL" sz="800" dirty="0" smtClean="0">
              <a:solidFill>
                <a:schemeClr val="bg1"/>
              </a:solidFill>
              <a:latin typeface="TitilliumText14L"/>
              <a:sym typeface="TitilliumText14L"/>
            </a:endParaRPr>
          </a:p>
        </p:txBody>
      </p:sp>
      <p:sp useBgFill="1">
        <p:nvSpPr>
          <p:cNvPr id="128" name="Segnaposto testo 2"/>
          <p:cNvSpPr>
            <a:spLocks noGrp="1"/>
          </p:cNvSpPr>
          <p:nvPr>
            <p:custDataLst>
              <p:tags r:id="rId97"/>
            </p:custDataLst>
          </p:nvPr>
        </p:nvSpPr>
        <p:spPr bwMode="auto">
          <a:xfrm>
            <a:off x="6981825" y="4613275"/>
            <a:ext cx="2889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5875" tIns="0" rIns="1587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1DD3546-2545-4F3B-8B80-ACAAEDCE51AA}" type="datetime'4''''''''''''''''''''''''''0''''.''''''''''''''''''''''''70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40.70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27" name="Segnaposto testo 2"/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8191500" y="4613275"/>
            <a:ext cx="23177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5875" tIns="0" rIns="1587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873E821-9AAD-4904-94B0-48CDC5A95EBD}" type="datetime'''''''4''''''''''.''''''''''1''''''''''''''''''0''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4.10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81" name="Rechteck 180"/>
          <p:cNvSpPr/>
          <p:nvPr>
            <p:custDataLst>
              <p:tags r:id="rId99"/>
            </p:custDataLst>
          </p:nvPr>
        </p:nvSpPr>
        <p:spPr bwMode="auto">
          <a:xfrm>
            <a:off x="5630862" y="5943600"/>
            <a:ext cx="142875" cy="106362"/>
          </a:xfrm>
          <a:prstGeom prst="rect">
            <a:avLst/>
          </a:prstGeom>
          <a:solidFill>
            <a:srgbClr val="EFB643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>
            <p:custDataLst>
              <p:tags r:id="rId100"/>
            </p:custDataLst>
          </p:nvPr>
        </p:nvSpPr>
        <p:spPr bwMode="auto">
          <a:xfrm>
            <a:off x="5630862" y="5597525"/>
            <a:ext cx="142875" cy="106362"/>
          </a:xfrm>
          <a:prstGeom prst="rect">
            <a:avLst/>
          </a:prstGeom>
          <a:solidFill>
            <a:srgbClr val="066BB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40" name="Rechteck 139"/>
          <p:cNvSpPr/>
          <p:nvPr>
            <p:custDataLst>
              <p:tags r:id="rId101"/>
            </p:custDataLst>
          </p:nvPr>
        </p:nvSpPr>
        <p:spPr bwMode="auto">
          <a:xfrm>
            <a:off x="5630862" y="5770562"/>
            <a:ext cx="142875" cy="106362"/>
          </a:xfrm>
          <a:prstGeom prst="rect">
            <a:avLst/>
          </a:prstGeom>
          <a:solidFill>
            <a:srgbClr val="AFE06E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80" name="Segnaposto testo 2"/>
          <p:cNvSpPr>
            <a:spLocks noGrp="1"/>
          </p:cNvSpPr>
          <p:nvPr>
            <p:custDataLst>
              <p:tags r:id="rId102"/>
            </p:custDataLst>
          </p:nvPr>
        </p:nvSpPr>
        <p:spPr bwMode="auto">
          <a:xfrm>
            <a:off x="5824537" y="5940425"/>
            <a:ext cx="10509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CF755C0-DFEF-4B2B-9698-CACDC8258590}" type="datetime'de''cla''''''''rati''''o''''''n'''''' ''t''o relea''''''se'">
              <a:rPr lang="en-US" sz="800" smtClean="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buNone/>
              </a:pPr>
              <a:t>declaration to release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43" name="Segnaposto testo 2"/>
          <p:cNvSpPr>
            <a:spLocks noGrp="1"/>
          </p:cNvSpPr>
          <p:nvPr>
            <p:custDataLst>
              <p:tags r:id="rId103"/>
            </p:custDataLst>
          </p:nvPr>
        </p:nvSpPr>
        <p:spPr bwMode="auto">
          <a:xfrm>
            <a:off x="5824537" y="5767387"/>
            <a:ext cx="1030287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40E4F262-1D42-4784-B4C3-99C8CA271695}" type="datetime'un''''l''''''o''''''ad t''o ''''''''''d''''''ecla''''''ration'">
              <a:rPr lang="en-US" sz="800" smtClean="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buNone/>
              </a:pPr>
              <a:t>unload to declaration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42" name="Segnaposto testo 2"/>
          <p:cNvSpPr>
            <a:spLocks noGrp="1"/>
          </p:cNvSpPr>
          <p:nvPr>
            <p:custDataLst>
              <p:tags r:id="rId104"/>
            </p:custDataLst>
          </p:nvPr>
        </p:nvSpPr>
        <p:spPr bwMode="auto">
          <a:xfrm>
            <a:off x="5824537" y="5594350"/>
            <a:ext cx="79375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040C63CD-2AA3-455C-8814-88E093E2DDA3}" type="datetime'a''''r''riv''''''a''l t''''o ''''u''n''''''lo''''''a''''d'''">
              <a:rPr lang="en-US" sz="800" smtClean="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buNone/>
              </a:pPr>
              <a:t>arrival to unload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45" name="Textfeld 144"/>
          <p:cNvSpPr txBox="1"/>
          <p:nvPr>
            <p:custDataLst>
              <p:tags r:id="rId105"/>
            </p:custDataLst>
          </p:nvPr>
        </p:nvSpPr>
        <p:spPr>
          <a:xfrm>
            <a:off x="6012160" y="3789362"/>
            <a:ext cx="1977504" cy="30777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noAutofit/>
          </a:bodyPr>
          <a:lstStyle/>
          <a:p>
            <a:r>
              <a:rPr lang="en-US" sz="900" b="1" dirty="0" smtClean="0">
                <a:solidFill>
                  <a:schemeClr val="tx2"/>
                </a:solidFill>
              </a:rPr>
              <a:t>Koha e zhdoganimit </a:t>
            </a:r>
            <a:r>
              <a:rPr lang="en-US" sz="900" b="1" dirty="0" err="1" smtClean="0">
                <a:solidFill>
                  <a:schemeClr val="tx2"/>
                </a:solidFill>
              </a:rPr>
              <a:t>për</a:t>
            </a:r>
            <a:r>
              <a:rPr lang="en-US" sz="900" b="1" dirty="0" smtClean="0">
                <a:solidFill>
                  <a:schemeClr val="tx2"/>
                </a:solidFill>
              </a:rPr>
              <a:t> </a:t>
            </a:r>
            <a:endParaRPr lang="sq-AL" sz="900" b="1" dirty="0" smtClean="0">
              <a:solidFill>
                <a:schemeClr val="tx2"/>
              </a:solidFill>
            </a:endParaRPr>
          </a:p>
          <a:p>
            <a:r>
              <a:rPr lang="en-US" sz="900" b="1" dirty="0" err="1" smtClean="0">
                <a:solidFill>
                  <a:schemeClr val="tx2"/>
                </a:solidFill>
              </a:rPr>
              <a:t>ngarkesat</a:t>
            </a:r>
            <a:r>
              <a:rPr lang="en-US" sz="900" b="1" dirty="0" smtClean="0">
                <a:solidFill>
                  <a:schemeClr val="tx2"/>
                </a:solidFill>
              </a:rPr>
              <a:t> detare</a:t>
            </a:r>
            <a:endParaRPr lang="sq-AL" sz="900" b="1" dirty="0">
              <a:solidFill>
                <a:schemeClr val="tx2"/>
              </a:solidFill>
            </a:endParaRPr>
          </a:p>
        </p:txBody>
      </p:sp>
      <p:sp>
        <p:nvSpPr>
          <p:cNvPr id="146" name="AutoShape 2"/>
          <p:cNvSpPr>
            <a:spLocks noChangeArrowheads="1"/>
          </p:cNvSpPr>
          <p:nvPr>
            <p:custDataLst>
              <p:tags r:id="rId106"/>
            </p:custDataLst>
          </p:nvPr>
        </p:nvSpPr>
        <p:spPr bwMode="auto">
          <a:xfrm rot="5400000">
            <a:off x="2771800" y="4149080"/>
            <a:ext cx="3240360" cy="216024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45720" rIns="45720" anchor="ctr"/>
          <a:lstStyle/>
          <a:p>
            <a:endParaRPr lang="en-US" dirty="0"/>
          </a:p>
        </p:txBody>
      </p:sp>
      <p:sp>
        <p:nvSpPr>
          <p:cNvPr id="339" name="Textfeld 338"/>
          <p:cNvSpPr txBox="1"/>
          <p:nvPr>
            <p:custDataLst>
              <p:tags r:id="rId107"/>
            </p:custDataLst>
          </p:nvPr>
        </p:nvSpPr>
        <p:spPr>
          <a:xfrm>
            <a:off x="2339752" y="1249015"/>
            <a:ext cx="4328429" cy="26161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100" b="1" dirty="0" smtClean="0">
                <a:solidFill>
                  <a:schemeClr val="tx2"/>
                </a:solidFill>
              </a:rPr>
              <a:t>Ndikimi i përpunimit përpara mbërritjes te koha e zhdoganimit</a:t>
            </a:r>
            <a:endParaRPr lang="sq-AL" sz="1100" b="1" dirty="0">
              <a:solidFill>
                <a:schemeClr val="tx2"/>
              </a:solidFill>
            </a:endParaRPr>
          </a:p>
        </p:txBody>
      </p:sp>
      <p:sp>
        <p:nvSpPr>
          <p:cNvPr id="381" name="Textfeld 380"/>
          <p:cNvSpPr txBox="1"/>
          <p:nvPr>
            <p:custDataLst>
              <p:tags r:id="rId108"/>
            </p:custDataLst>
          </p:nvPr>
        </p:nvSpPr>
        <p:spPr>
          <a:xfrm>
            <a:off x="467544" y="6309320"/>
            <a:ext cx="7992888" cy="21544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800" dirty="0" smtClean="0"/>
              <a:t>Burimi: Studimi për Kohën e Zhdoganimit i vitit 2009, Ministria e Financave të Japonisë</a:t>
            </a:r>
            <a:endParaRPr lang="sq-AL" sz="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Sottotitolo 8"/>
          <p:cNvSpPr>
            <a:spLocks noGrp="1"/>
          </p:cNvSpPr>
          <p:nvPr>
            <p:ph type="subTitle" idx="1"/>
          </p:nvPr>
        </p:nvSpPr>
        <p:spPr>
          <a:xfrm>
            <a:off x="683568" y="2564904"/>
            <a:ext cx="7704856" cy="1872208"/>
          </a:xfrm>
        </p:spPr>
        <p:txBody>
          <a:bodyPr/>
          <a:lstStyle/>
          <a:p>
            <a:pPr marL="361950">
              <a:spcBef>
                <a:spcPct val="0"/>
              </a:spcBef>
              <a:buClr>
                <a:schemeClr val="bg1"/>
              </a:buClr>
            </a:pPr>
            <a:r>
              <a:rPr lang="en-US" sz="4000" b="1" dirty="0" smtClean="0"/>
              <a:t>b) Masat për sigurinë</a:t>
            </a:r>
            <a:endParaRPr lang="sq-AL" sz="4000" b="1" dirty="0">
              <a:ea typeface="+mj-ea"/>
              <a:cs typeface="+mj-cs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033696B-4224-4D74-92D2-B2221F4E303A}" type="slidenum">
              <a:rPr lang="it-IT"/>
              <a:pPr>
                <a:defRPr/>
              </a:pPr>
              <a:t>19</a:t>
            </a:fld>
            <a:endParaRPr lang="sq-AL"/>
          </a:p>
        </p:txBody>
      </p:sp>
    </p:spTree>
    <p:extLst>
      <p:ext uri="{BB962C8B-B14F-4D97-AF65-F5344CB8AC3E}">
        <p14:creationId xmlns:p14="http://schemas.microsoft.com/office/powerpoint/2010/main" val="2867567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olo 7"/>
          <p:cNvSpPr>
            <a:spLocks noGrp="1"/>
          </p:cNvSpPr>
          <p:nvPr>
            <p:ph type="ctrTitle"/>
          </p:nvPr>
        </p:nvSpPr>
        <p:spPr bwMode="auto">
          <a:xfrm>
            <a:off x="539552" y="332656"/>
            <a:ext cx="8060432" cy="1470025"/>
          </a:xfrm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r>
              <a:rPr lang="en-GB" sz="4000" dirty="0" smtClean="0">
                <a:effectLst/>
              </a:rPr>
              <a:t>Pikat e prezantimit</a:t>
            </a:r>
          </a:p>
        </p:txBody>
      </p:sp>
      <p:sp>
        <p:nvSpPr>
          <p:cNvPr id="10243" name="Sottotitolo 8"/>
          <p:cNvSpPr>
            <a:spLocks noGrp="1"/>
          </p:cNvSpPr>
          <p:nvPr>
            <p:ph type="subTitle" idx="1"/>
          </p:nvPr>
        </p:nvSpPr>
        <p:spPr>
          <a:xfrm>
            <a:off x="539552" y="1556792"/>
            <a:ext cx="7704856" cy="4608512"/>
          </a:xfrm>
        </p:spPr>
        <p:txBody>
          <a:bodyPr/>
          <a:lstStyle/>
          <a:p>
            <a:pPr marL="342900" indent="-342900" algn="l">
              <a:lnSpc>
                <a:spcPct val="150000"/>
              </a:lnSpc>
              <a:buClr>
                <a:schemeClr val="bg1"/>
              </a:buClr>
              <a:buFont typeface="+mj-lt"/>
              <a:buAutoNum type="arabicPeriod"/>
            </a:pPr>
            <a:r>
              <a:rPr dirty="0" smtClean="0"/>
              <a:t>Përshkrim i përgjithshëm i vonesave në kufi dhe zgjidhjeve për LT</a:t>
            </a:r>
          </a:p>
          <a:p>
            <a:pPr marL="342900" indent="-342900" algn="l">
              <a:lnSpc>
                <a:spcPct val="150000"/>
              </a:lnSpc>
              <a:buClr>
                <a:schemeClr val="bg1"/>
              </a:buClr>
              <a:buFont typeface="+mj-lt"/>
              <a:buAutoNum type="arabicPeriod"/>
            </a:pPr>
            <a:r>
              <a:rPr dirty="0" smtClean="0"/>
              <a:t>Matja e ndikimit të masave për LT</a:t>
            </a:r>
          </a:p>
          <a:p>
            <a:pPr marL="342900" indent="-342900" algn="l">
              <a:lnSpc>
                <a:spcPct val="150000"/>
              </a:lnSpc>
              <a:buClr>
                <a:schemeClr val="bg1"/>
              </a:buClr>
              <a:buFont typeface="+mj-lt"/>
              <a:buAutoNum type="arabicPeriod"/>
            </a:pPr>
            <a:r>
              <a:rPr dirty="0" smtClean="0"/>
              <a:t>Menaxhimi ndërkufitar dhe instrumentet e doganave</a:t>
            </a:r>
          </a:p>
          <a:p>
            <a:pPr marL="819150" indent="-457200" algn="l">
              <a:buClr>
                <a:schemeClr val="bg1"/>
              </a:buClr>
              <a:buFont typeface="+mj-lt"/>
              <a:buAutoNum type="alphaLcParenR"/>
            </a:pPr>
            <a:r>
              <a:rPr dirty="0" smtClean="0"/>
              <a:t>Masat për zhdoganimin</a:t>
            </a:r>
          </a:p>
          <a:p>
            <a:pPr marL="819150" indent="-457200" algn="l">
              <a:buClr>
                <a:schemeClr val="bg1"/>
              </a:buClr>
              <a:buFont typeface="+mj-lt"/>
              <a:buAutoNum type="alphaLcParenR"/>
            </a:pPr>
            <a:r>
              <a:rPr dirty="0" smtClean="0"/>
              <a:t>Masat për sigurinë</a:t>
            </a:r>
          </a:p>
          <a:p>
            <a:pPr marL="819150" indent="-457200" algn="l">
              <a:buClr>
                <a:schemeClr val="bg1"/>
              </a:buClr>
              <a:buFont typeface="+mj-lt"/>
              <a:buAutoNum type="alphaLcParenR"/>
            </a:pPr>
            <a:r>
              <a:rPr dirty="0" smtClean="0"/>
              <a:t>Masat për menaxhimin ndërkufitar</a:t>
            </a:r>
          </a:p>
          <a:p>
            <a:pPr marL="342900" indent="-342900" algn="l">
              <a:lnSpc>
                <a:spcPct val="150000"/>
              </a:lnSpc>
              <a:buClr>
                <a:schemeClr val="bg1"/>
              </a:buClr>
              <a:buFont typeface="+mj-lt"/>
              <a:buAutoNum type="arabicPeriod" startAt="4"/>
            </a:pPr>
            <a:r>
              <a:rPr dirty="0" smtClean="0"/>
              <a:t>Udhëzuesi për Zbatimin e Lehtësimit të Tregtisë</a:t>
            </a:r>
            <a:endParaRPr lang="sq-AL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033696B-4224-4D74-92D2-B2221F4E303A}" type="slidenum">
              <a:rPr lang="it-IT"/>
              <a:pPr>
                <a:defRPr/>
              </a:pPr>
              <a:t>2</a:t>
            </a:fld>
            <a:endParaRPr lang="sq-AL"/>
          </a:p>
        </p:txBody>
      </p:sp>
    </p:spTree>
    <p:extLst>
      <p:ext uri="{BB962C8B-B14F-4D97-AF65-F5344CB8AC3E}">
        <p14:creationId xmlns:p14="http://schemas.microsoft.com/office/powerpoint/2010/main" val="1904753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smtClean="0"/>
              <a:t>(Zinxhiri i furnizimit) Siguria</a:t>
            </a:r>
            <a:endParaRPr lang="sq-AL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hlinkClick r:id="rId2"/>
              </a:rPr>
              <a:t>Operatori Ekonomik i Autorizuar (AEO)</a:t>
            </a:r>
            <a:endParaRPr lang="sq-AL" dirty="0" smtClean="0"/>
          </a:p>
          <a:p>
            <a:pPr lvl="1"/>
            <a:r>
              <a:rPr dirty="0" smtClean="0"/>
              <a:t>një mënyrë për të siguruar tregti të ligjshme me anë të një mekanizmi për të marrë përfitime të prekshme, në mënyrë që angazhimi të investojë dhe të respektojë standardet e sigurisë për zinxhirin e furnizimit. </a:t>
            </a:r>
          </a:p>
          <a:p>
            <a:r>
              <a:rPr lang="en-US" dirty="0" smtClean="0">
                <a:hlinkClick r:id="rId3"/>
              </a:rPr>
              <a:t>Njohja e përbashkët</a:t>
            </a:r>
            <a:r>
              <a:rPr dirty="0" smtClean="0"/>
              <a:t> e programeve të AEO-së</a:t>
            </a:r>
          </a:p>
          <a:p>
            <a:pPr lvl="1"/>
            <a:r>
              <a:rPr dirty="0" smtClean="0"/>
              <a:t>do të thotë që AEO-të nuk duhet t'i nënshtrohen procesit të akreditimit që konsumon kohë çdo herë dhe në çdo vend.</a:t>
            </a:r>
          </a:p>
          <a:p>
            <a:r>
              <a:rPr lang="en-US" dirty="0" smtClean="0">
                <a:hlinkClick r:id="rId4"/>
              </a:rPr>
              <a:t>Teknologjia për inspektime pa ndërhyrje fizike</a:t>
            </a:r>
            <a:endParaRPr lang="sq-AL" dirty="0" smtClean="0"/>
          </a:p>
          <a:p>
            <a:pPr lvl="1"/>
            <a:r>
              <a:rPr dirty="0" smtClean="0"/>
              <a:t>mund të ndihmojë në rritjen e sigurisë, por në të njëjtën kohë mund të ndihmojë në shmangien e inspektimeve që konsumojnë kohë. </a:t>
            </a:r>
            <a:endParaRPr lang="sq-AL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42D9F6-4E0E-41D8-BC1F-BF1CE87366CF}" type="slidenum">
              <a:rPr lang="it-IT" smtClean="0"/>
              <a:pPr>
                <a:defRPr/>
              </a:pPr>
              <a:t>20</a:t>
            </a:fld>
            <a:endParaRPr lang="sq-AL"/>
          </a:p>
        </p:txBody>
      </p:sp>
      <p:grpSp>
        <p:nvGrpSpPr>
          <p:cNvPr id="5" name="Gruppieren 4"/>
          <p:cNvGrpSpPr/>
          <p:nvPr/>
        </p:nvGrpSpPr>
        <p:grpSpPr>
          <a:xfrm>
            <a:off x="8316416" y="476672"/>
            <a:ext cx="576064" cy="504056"/>
            <a:chOff x="755576" y="1196752"/>
            <a:chExt cx="5040560" cy="5112568"/>
          </a:xfrm>
        </p:grpSpPr>
        <p:sp>
          <p:nvSpPr>
            <p:cNvPr id="6" name="Rechteck 5"/>
            <p:cNvSpPr/>
            <p:nvPr/>
          </p:nvSpPr>
          <p:spPr>
            <a:xfrm>
              <a:off x="2483768" y="1196752"/>
              <a:ext cx="1584176" cy="36004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>
            <a:xfrm>
              <a:off x="755576" y="1844824"/>
              <a:ext cx="1152128" cy="36004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8" name="Rechteck 7"/>
            <p:cNvSpPr/>
            <p:nvPr/>
          </p:nvSpPr>
          <p:spPr>
            <a:xfrm>
              <a:off x="4644008" y="1844824"/>
              <a:ext cx="1152128" cy="36004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9" name="Rechteck 8"/>
            <p:cNvSpPr/>
            <p:nvPr/>
          </p:nvSpPr>
          <p:spPr>
            <a:xfrm>
              <a:off x="755576" y="234888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0" name="Rechteck 9"/>
            <p:cNvSpPr/>
            <p:nvPr/>
          </p:nvSpPr>
          <p:spPr>
            <a:xfrm>
              <a:off x="755576" y="443711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4644008" y="249289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4644008" y="285293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eck 12"/>
            <p:cNvSpPr/>
            <p:nvPr/>
          </p:nvSpPr>
          <p:spPr>
            <a:xfrm>
              <a:off x="2699792" y="1844824"/>
              <a:ext cx="1152128" cy="36004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2699792" y="321297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2699792" y="285293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2699792" y="249289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Gerade Verbindung 16"/>
            <p:cNvCxnSpPr>
              <a:stCxn id="6" idx="2"/>
              <a:endCxn id="13" idx="0"/>
            </p:cNvCxnSpPr>
            <p:nvPr/>
          </p:nvCxnSpPr>
          <p:spPr>
            <a:xfrm>
              <a:off x="3275856" y="1556792"/>
              <a:ext cx="0" cy="28803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Form 35"/>
            <p:cNvCxnSpPr>
              <a:stCxn id="6" idx="2"/>
              <a:endCxn id="7" idx="0"/>
            </p:cNvCxnSpPr>
            <p:nvPr/>
          </p:nvCxnSpPr>
          <p:spPr>
            <a:xfrm rot="5400000">
              <a:off x="2159732" y="728700"/>
              <a:ext cx="288032" cy="1944216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winkelte Verbindung 18"/>
            <p:cNvCxnSpPr>
              <a:stCxn id="6" idx="2"/>
              <a:endCxn id="8" idx="0"/>
            </p:cNvCxnSpPr>
            <p:nvPr/>
          </p:nvCxnSpPr>
          <p:spPr>
            <a:xfrm rot="16200000" flipH="1">
              <a:off x="4103948" y="728700"/>
              <a:ext cx="288032" cy="1944216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winkelte Verbindung 19"/>
            <p:cNvCxnSpPr>
              <a:stCxn id="13" idx="1"/>
              <a:endCxn id="16" idx="1"/>
            </p:cNvCxnSpPr>
            <p:nvPr/>
          </p:nvCxnSpPr>
          <p:spPr>
            <a:xfrm rot="10800000" flipV="1">
              <a:off x="2699792" y="2024844"/>
              <a:ext cx="12700" cy="61206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winkelte Verbindung 20"/>
            <p:cNvCxnSpPr>
              <a:stCxn id="13" idx="1"/>
              <a:endCxn id="15" idx="1"/>
            </p:cNvCxnSpPr>
            <p:nvPr/>
          </p:nvCxnSpPr>
          <p:spPr>
            <a:xfrm rot="10800000" flipV="1">
              <a:off x="2699792" y="2024844"/>
              <a:ext cx="12700" cy="97210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winkelte Verbindung 21"/>
            <p:cNvCxnSpPr>
              <a:stCxn id="13" idx="1"/>
              <a:endCxn id="14" idx="1"/>
            </p:cNvCxnSpPr>
            <p:nvPr/>
          </p:nvCxnSpPr>
          <p:spPr>
            <a:xfrm rot="10800000" flipV="1">
              <a:off x="2699792" y="2024844"/>
              <a:ext cx="12700" cy="133214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winkelte Verbindung 22"/>
            <p:cNvCxnSpPr>
              <a:stCxn id="7" idx="1"/>
              <a:endCxn id="9" idx="1"/>
            </p:cNvCxnSpPr>
            <p:nvPr/>
          </p:nvCxnSpPr>
          <p:spPr>
            <a:xfrm rot="10800000" flipV="1">
              <a:off x="755576" y="2024844"/>
              <a:ext cx="12700" cy="468052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winkelte Verbindung 23"/>
            <p:cNvCxnSpPr>
              <a:stCxn id="7" idx="1"/>
              <a:endCxn id="10" idx="1"/>
            </p:cNvCxnSpPr>
            <p:nvPr/>
          </p:nvCxnSpPr>
          <p:spPr>
            <a:xfrm rot="10800000" flipV="1">
              <a:off x="755576" y="2024844"/>
              <a:ext cx="12700" cy="2556284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winkelte Verbindung 24"/>
            <p:cNvCxnSpPr>
              <a:stCxn id="8" idx="1"/>
              <a:endCxn id="11" idx="1"/>
            </p:cNvCxnSpPr>
            <p:nvPr/>
          </p:nvCxnSpPr>
          <p:spPr>
            <a:xfrm rot="10800000" flipV="1">
              <a:off x="4644008" y="2024844"/>
              <a:ext cx="12700" cy="61206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winkelte Verbindung 25"/>
            <p:cNvCxnSpPr>
              <a:stCxn id="8" idx="1"/>
              <a:endCxn id="12" idx="1"/>
            </p:cNvCxnSpPr>
            <p:nvPr/>
          </p:nvCxnSpPr>
          <p:spPr>
            <a:xfrm rot="10800000" flipV="1">
              <a:off x="4644008" y="2024844"/>
              <a:ext cx="12700" cy="97210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echteck 26"/>
            <p:cNvSpPr/>
            <p:nvPr/>
          </p:nvSpPr>
          <p:spPr>
            <a:xfrm>
              <a:off x="899592" y="270892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899592" y="306896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899592" y="342900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899592" y="393305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1" name="Rechteck 30"/>
            <p:cNvSpPr/>
            <p:nvPr/>
          </p:nvSpPr>
          <p:spPr>
            <a:xfrm>
              <a:off x="899592" y="479715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2" name="Rechteck 31"/>
            <p:cNvSpPr/>
            <p:nvPr/>
          </p:nvSpPr>
          <p:spPr>
            <a:xfrm>
              <a:off x="899592" y="515719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899592" y="551723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899592" y="6021288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cxnSp>
          <p:nvCxnSpPr>
            <p:cNvPr id="35" name="Gewinkelte Verbindung 34"/>
            <p:cNvCxnSpPr>
              <a:stCxn id="9" idx="1"/>
              <a:endCxn id="27" idx="1"/>
            </p:cNvCxnSpPr>
            <p:nvPr/>
          </p:nvCxnSpPr>
          <p:spPr>
            <a:xfrm rot="10800000" flipH="1" flipV="1">
              <a:off x="755576" y="2492896"/>
              <a:ext cx="144016" cy="360040"/>
            </a:xfrm>
            <a:prstGeom prst="bentConnector3">
              <a:avLst>
                <a:gd name="adj1" fmla="val -64668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winkelte Verbindung 35"/>
            <p:cNvCxnSpPr>
              <a:stCxn id="9" idx="1"/>
              <a:endCxn id="28" idx="1"/>
            </p:cNvCxnSpPr>
            <p:nvPr/>
          </p:nvCxnSpPr>
          <p:spPr>
            <a:xfrm rot="10800000" flipH="1" flipV="1">
              <a:off x="755576" y="2492896"/>
              <a:ext cx="144016" cy="720080"/>
            </a:xfrm>
            <a:prstGeom prst="bentConnector3">
              <a:avLst>
                <a:gd name="adj1" fmla="val -64669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winkelte Verbindung 36"/>
            <p:cNvCxnSpPr>
              <a:stCxn id="9" idx="1"/>
              <a:endCxn id="29" idx="1"/>
            </p:cNvCxnSpPr>
            <p:nvPr/>
          </p:nvCxnSpPr>
          <p:spPr>
            <a:xfrm rot="10800000" flipH="1" flipV="1">
              <a:off x="755576" y="2492896"/>
              <a:ext cx="144016" cy="1080120"/>
            </a:xfrm>
            <a:prstGeom prst="bentConnector3">
              <a:avLst>
                <a:gd name="adj1" fmla="val -64669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winkelte Verbindung 37"/>
            <p:cNvCxnSpPr>
              <a:stCxn id="9" idx="1"/>
              <a:endCxn id="30" idx="1"/>
            </p:cNvCxnSpPr>
            <p:nvPr/>
          </p:nvCxnSpPr>
          <p:spPr>
            <a:xfrm rot="10800000" flipH="1" flipV="1">
              <a:off x="755576" y="2492896"/>
              <a:ext cx="144016" cy="1584176"/>
            </a:xfrm>
            <a:prstGeom prst="bentConnector3">
              <a:avLst>
                <a:gd name="adj1" fmla="val -64669"/>
              </a:avLst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winkelte Verbindung 38"/>
            <p:cNvCxnSpPr>
              <a:stCxn id="10" idx="1"/>
              <a:endCxn id="31" idx="1"/>
            </p:cNvCxnSpPr>
            <p:nvPr/>
          </p:nvCxnSpPr>
          <p:spPr>
            <a:xfrm rot="10800000" flipH="1" flipV="1">
              <a:off x="755576" y="4581128"/>
              <a:ext cx="144016" cy="360040"/>
            </a:xfrm>
            <a:prstGeom prst="bentConnector3">
              <a:avLst>
                <a:gd name="adj1" fmla="val -61118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Form 88"/>
            <p:cNvCxnSpPr>
              <a:stCxn id="10" idx="1"/>
              <a:endCxn id="32" idx="1"/>
            </p:cNvCxnSpPr>
            <p:nvPr/>
          </p:nvCxnSpPr>
          <p:spPr>
            <a:xfrm rot="10800000" flipH="1" flipV="1">
              <a:off x="755576" y="4581128"/>
              <a:ext cx="144016" cy="720080"/>
            </a:xfrm>
            <a:prstGeom prst="bentConnector3">
              <a:avLst>
                <a:gd name="adj1" fmla="val -63853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Form 90"/>
            <p:cNvCxnSpPr>
              <a:stCxn id="10" idx="1"/>
              <a:endCxn id="33" idx="1"/>
            </p:cNvCxnSpPr>
            <p:nvPr/>
          </p:nvCxnSpPr>
          <p:spPr>
            <a:xfrm rot="10800000" flipH="1" flipV="1">
              <a:off x="755576" y="4581128"/>
              <a:ext cx="144016" cy="1080120"/>
            </a:xfrm>
            <a:prstGeom prst="bentConnector3">
              <a:avLst>
                <a:gd name="adj1" fmla="val -64435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winkelte Verbindung 41"/>
            <p:cNvCxnSpPr>
              <a:stCxn id="10" idx="1"/>
              <a:endCxn id="34" idx="1"/>
            </p:cNvCxnSpPr>
            <p:nvPr/>
          </p:nvCxnSpPr>
          <p:spPr>
            <a:xfrm rot="10800000" flipH="1" flipV="1">
              <a:off x="755576" y="4581128"/>
              <a:ext cx="144016" cy="1584176"/>
            </a:xfrm>
            <a:prstGeom prst="bentConnector3">
              <a:avLst>
                <a:gd name="adj1" fmla="val -64435"/>
              </a:avLst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3" name="Grafik 42" descr="map-rdbc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372200" y="1340768"/>
            <a:ext cx="672073" cy="11860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2" name="Objekt 6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3" name="think-cell Slide" r:id="rId57" imgW="360" imgH="360" progId="TCLayout.ActiveDocument.1">
                  <p:embed/>
                </p:oleObj>
              </mc:Choice>
              <mc:Fallback>
                <p:oleObj name="think-cell Slide" r:id="rId57" imgW="360" imgH="360" progId="TCLayout.ActiveDocument.1">
                  <p:embed/>
                  <p:pic>
                    <p:nvPicPr>
                      <p:cNvPr id="0" name="Picture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hteck 4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800" b="1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dirty="0" smtClean="0"/>
              <a:t>Shembull – AEO</a:t>
            </a:r>
            <a:endParaRPr lang="sq-AL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8532813" y="6256337"/>
            <a:ext cx="585787" cy="268288"/>
          </a:xfrm>
        </p:spPr>
        <p:txBody>
          <a:bodyPr/>
          <a:lstStyle/>
          <a:p>
            <a:pPr>
              <a:defRPr/>
            </a:pPr>
            <a:fld id="{6042D9F6-4E0E-41D8-BC1F-BF1CE87366CF}" type="slidenum">
              <a:rPr lang="it-IT" smtClean="0"/>
              <a:pPr>
                <a:defRPr/>
              </a:pPr>
              <a:t>21</a:t>
            </a:fld>
            <a:endParaRPr lang="sq-AL"/>
          </a:p>
        </p:txBody>
      </p:sp>
      <p:sp>
        <p:nvSpPr>
          <p:cNvPr id="43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67544" y="2237159"/>
            <a:ext cx="3477518" cy="3524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anchor="ctr"/>
          <a:lstStyle/>
          <a:p>
            <a:pPr algn="ctr">
              <a:spcAft>
                <a:spcPts val="200"/>
              </a:spcAft>
              <a:buClr>
                <a:schemeClr val="tx1"/>
              </a:buClr>
            </a:pPr>
            <a:r>
              <a:rPr lang="en-US" sz="1400" b="1" dirty="0" smtClean="0">
                <a:solidFill>
                  <a:srgbClr val="FFFFFF"/>
                </a:solidFill>
              </a:rPr>
              <a:t>Shpjegim</a:t>
            </a:r>
            <a:endParaRPr lang="sq-AL" sz="1400" b="1" dirty="0">
              <a:solidFill>
                <a:srgbClr val="FFFFFF"/>
              </a:solidFill>
            </a:endParaRPr>
          </a:p>
        </p:txBody>
      </p:sp>
      <p:sp>
        <p:nvSpPr>
          <p:cNvPr id="44" name="Rectangle 16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67544" y="2583234"/>
            <a:ext cx="3477518" cy="29339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marL="179388" indent="-179388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200" dirty="0" smtClean="0"/>
              <a:t>Sipas Studimit për Kohën e Zhdoganimit të kryer nga doganat në Japoni në vitin 2009, koha që i duhet doganave për të zhdoganuar një ngarkesë detare nga tregtarë jo anëtarë të AEO-së ishte 3,1 orë, në krahasim me 10 minuta që u duheshin për tregtarët me statusin e AEO-së në doganat e Japonisë.</a:t>
            </a:r>
          </a:p>
          <a:p>
            <a:pPr marL="179388" indent="-179388">
              <a:buClr>
                <a:schemeClr val="tx1"/>
              </a:buClr>
              <a:buFont typeface="Wingdings" pitchFamily="2" charset="2"/>
              <a:buChar char="§"/>
            </a:pPr>
            <a:endParaRPr lang="sq-AL" sz="1200" dirty="0" smtClean="0"/>
          </a:p>
          <a:p>
            <a:pPr marL="179388" indent="-179388">
              <a:buClr>
                <a:schemeClr val="tx1"/>
              </a:buClr>
              <a:buFont typeface="Wingdings" pitchFamily="2" charset="2"/>
              <a:buChar char="§"/>
            </a:pPr>
            <a:r>
              <a:rPr lang="en-US" sz="1200" dirty="0" smtClean="0"/>
              <a:t>Për më shumë informacion:</a:t>
            </a:r>
          </a:p>
          <a:p>
            <a:pPr marL="357188" lvl="1" indent="-179388">
              <a:buClr>
                <a:schemeClr val="tx1"/>
              </a:buClr>
              <a:buFont typeface="Wingdings" pitchFamily="2" charset="2"/>
              <a:buChar char="§"/>
              <a:tabLst>
                <a:tab pos="357188" algn="l"/>
              </a:tabLst>
            </a:pPr>
            <a:r>
              <a:rPr lang="en-US" sz="1200" dirty="0" smtClean="0">
                <a:hlinkClick r:id="rId59"/>
              </a:rPr>
              <a:t>Kuadri SAFE i OBD-së për Standardet</a:t>
            </a:r>
            <a:endParaRPr lang="sq-AL" sz="1200" dirty="0" smtClean="0"/>
          </a:p>
          <a:p>
            <a:pPr marL="357188" lvl="1" indent="-179388">
              <a:buClr>
                <a:schemeClr val="tx1"/>
              </a:buClr>
              <a:buFont typeface="Wingdings" pitchFamily="2" charset="2"/>
              <a:buChar char="§"/>
              <a:tabLst>
                <a:tab pos="357188" algn="l"/>
              </a:tabLst>
            </a:pPr>
            <a:r>
              <a:rPr lang="en-US" sz="1200" dirty="0" smtClean="0">
                <a:hlinkClick r:id="rId60"/>
              </a:rPr>
              <a:t>Dokumenti i përfitimeve të AEO-së</a:t>
            </a:r>
            <a:endParaRPr lang="sq-AL" sz="1200" dirty="0" smtClean="0"/>
          </a:p>
          <a:p>
            <a:pPr marL="357188" lvl="1" indent="-179388">
              <a:buClr>
                <a:schemeClr val="tx1"/>
              </a:buClr>
              <a:buFont typeface="Wingdings" pitchFamily="2" charset="2"/>
              <a:buChar char="§"/>
              <a:tabLst>
                <a:tab pos="357188" algn="l"/>
              </a:tabLst>
            </a:pPr>
            <a:r>
              <a:rPr lang="en-US" sz="1200" dirty="0" smtClean="0">
                <a:hlinkClick r:id="rId61"/>
              </a:rPr>
              <a:t>Paketa SAFE e OBD-së</a:t>
            </a:r>
            <a:endParaRPr lang="sq-AL" sz="1200" dirty="0"/>
          </a:p>
        </p:txBody>
      </p:sp>
      <p:graphicFrame>
        <p:nvGraphicFramePr>
          <p:cNvPr id="120" name="Objekt 119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5445125" y="3035300"/>
          <a:ext cx="3095816" cy="1438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4" name="Diagramm" r:id="rId62" imgW="3095816" imgH="1438465" progId="MSGraph.Chart.8">
                  <p:embed followColorScheme="full"/>
                </p:oleObj>
              </mc:Choice>
              <mc:Fallback>
                <p:oleObj name="Diagramm" r:id="rId62" imgW="3095816" imgH="1438465" progId="MSGraph.Chart.8">
                  <p:embed followColorScheme="full"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45125" y="3035300"/>
                        <a:ext cx="3095816" cy="1438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5" name="Gerade Verbindung 164"/>
          <p:cNvCxnSpPr/>
          <p:nvPr>
            <p:custDataLst>
              <p:tags r:id="rId9"/>
            </p:custDataLst>
          </p:nvPr>
        </p:nvCxnSpPr>
        <p:spPr bwMode="auto">
          <a:xfrm>
            <a:off x="8435975" y="3135312"/>
            <a:ext cx="0" cy="333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Gerade Verbindung 163"/>
          <p:cNvCxnSpPr/>
          <p:nvPr>
            <p:custDataLst>
              <p:tags r:id="rId10"/>
            </p:custDataLst>
          </p:nvPr>
        </p:nvCxnSpPr>
        <p:spPr bwMode="auto">
          <a:xfrm>
            <a:off x="8169275" y="3135312"/>
            <a:ext cx="0" cy="333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Gerade Verbindung 181"/>
          <p:cNvCxnSpPr/>
          <p:nvPr>
            <p:custDataLst>
              <p:tags r:id="rId11"/>
            </p:custDataLst>
          </p:nvPr>
        </p:nvCxnSpPr>
        <p:spPr bwMode="auto">
          <a:xfrm>
            <a:off x="6654800" y="3135312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Gerade Verbindung 159"/>
          <p:cNvCxnSpPr/>
          <p:nvPr>
            <p:custDataLst>
              <p:tags r:id="rId12"/>
            </p:custDataLst>
          </p:nvPr>
        </p:nvCxnSpPr>
        <p:spPr bwMode="auto">
          <a:xfrm>
            <a:off x="7721600" y="3135312"/>
            <a:ext cx="0" cy="333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Gerade Verbindung 158"/>
          <p:cNvCxnSpPr/>
          <p:nvPr>
            <p:custDataLst>
              <p:tags r:id="rId13"/>
            </p:custDataLst>
          </p:nvPr>
        </p:nvCxnSpPr>
        <p:spPr bwMode="auto">
          <a:xfrm>
            <a:off x="7454900" y="3135312"/>
            <a:ext cx="0" cy="333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/>
          <p:nvPr>
            <p:custDataLst>
              <p:tags r:id="rId14"/>
            </p:custDataLst>
          </p:nvPr>
        </p:nvCxnSpPr>
        <p:spPr bwMode="auto">
          <a:xfrm>
            <a:off x="7188200" y="3135312"/>
            <a:ext cx="0" cy="333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Gerade Verbindung 156"/>
          <p:cNvCxnSpPr/>
          <p:nvPr>
            <p:custDataLst>
              <p:tags r:id="rId15"/>
            </p:custDataLst>
          </p:nvPr>
        </p:nvCxnSpPr>
        <p:spPr bwMode="auto">
          <a:xfrm>
            <a:off x="6921500" y="3135312"/>
            <a:ext cx="0" cy="333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Gerade Verbindung 155"/>
          <p:cNvCxnSpPr/>
          <p:nvPr>
            <p:custDataLst>
              <p:tags r:id="rId16"/>
            </p:custDataLst>
          </p:nvPr>
        </p:nvCxnSpPr>
        <p:spPr bwMode="auto">
          <a:xfrm>
            <a:off x="5578475" y="3135312"/>
            <a:ext cx="0" cy="3333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Gerade Verbindung 178"/>
          <p:cNvCxnSpPr/>
          <p:nvPr>
            <p:custDataLst>
              <p:tags r:id="rId17"/>
            </p:custDataLst>
          </p:nvPr>
        </p:nvCxnSpPr>
        <p:spPr bwMode="auto">
          <a:xfrm>
            <a:off x="6388100" y="3135312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Gerade Verbindung 177"/>
          <p:cNvCxnSpPr/>
          <p:nvPr>
            <p:custDataLst>
              <p:tags r:id="rId18"/>
            </p:custDataLst>
          </p:nvPr>
        </p:nvCxnSpPr>
        <p:spPr bwMode="auto">
          <a:xfrm>
            <a:off x="6111875" y="3135312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Gerade Verbindung 176"/>
          <p:cNvCxnSpPr/>
          <p:nvPr>
            <p:custDataLst>
              <p:tags r:id="rId19"/>
            </p:custDataLst>
          </p:nvPr>
        </p:nvCxnSpPr>
        <p:spPr bwMode="auto">
          <a:xfrm>
            <a:off x="5845175" y="3135312"/>
            <a:ext cx="0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88" name="Freihandform 187"/>
          <p:cNvSpPr/>
          <p:nvPr>
            <p:custDataLst>
              <p:tags r:id="rId20"/>
            </p:custDataLst>
          </p:nvPr>
        </p:nvSpPr>
        <p:spPr bwMode="auto">
          <a:xfrm>
            <a:off x="7810500" y="3273425"/>
            <a:ext cx="163513" cy="395288"/>
          </a:xfrm>
          <a:custGeom>
            <a:avLst/>
            <a:gdLst/>
            <a:ahLst/>
            <a:cxnLst/>
            <a:rect l="0" t="0" r="0" b="0"/>
            <a:pathLst>
              <a:path w="163513" h="395288">
                <a:moveTo>
                  <a:pt x="163512" y="0"/>
                </a:moveTo>
                <a:lnTo>
                  <a:pt x="57150" y="395287"/>
                </a:lnTo>
                <a:lnTo>
                  <a:pt x="0" y="395287"/>
                </a:lnTo>
                <a:lnTo>
                  <a:pt x="106362" y="0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 useBgFill="1">
        <p:nvSpPr>
          <p:cNvPr id="149" name="Freihandform 148"/>
          <p:cNvSpPr/>
          <p:nvPr>
            <p:custDataLst>
              <p:tags r:id="rId21"/>
            </p:custDataLst>
          </p:nvPr>
        </p:nvSpPr>
        <p:spPr bwMode="auto">
          <a:xfrm>
            <a:off x="7843837" y="3097212"/>
            <a:ext cx="95251" cy="146051"/>
          </a:xfrm>
          <a:custGeom>
            <a:avLst/>
            <a:gdLst/>
            <a:ahLst/>
            <a:cxnLst/>
            <a:rect l="0" t="0" r="0" b="0"/>
            <a:pathLst>
              <a:path w="95251" h="146051">
                <a:moveTo>
                  <a:pt x="95250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8100" y="0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87" name="Freihandform 186"/>
          <p:cNvSpPr/>
          <p:nvPr>
            <p:custDataLst>
              <p:tags r:id="rId22"/>
            </p:custDataLst>
          </p:nvPr>
        </p:nvSpPr>
        <p:spPr bwMode="auto">
          <a:xfrm>
            <a:off x="7867650" y="3273425"/>
            <a:ext cx="106363" cy="395288"/>
          </a:xfrm>
          <a:custGeom>
            <a:avLst/>
            <a:gdLst/>
            <a:ahLst/>
            <a:cxnLst/>
            <a:rect l="0" t="0" r="0" b="0"/>
            <a:pathLst>
              <a:path w="106363" h="395288">
                <a:moveTo>
                  <a:pt x="106362" y="0"/>
                </a:moveTo>
                <a:lnTo>
                  <a:pt x="0" y="395287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6" name="Freihandform 185"/>
          <p:cNvSpPr/>
          <p:nvPr>
            <p:custDataLst>
              <p:tags r:id="rId23"/>
            </p:custDataLst>
          </p:nvPr>
        </p:nvSpPr>
        <p:spPr bwMode="auto">
          <a:xfrm>
            <a:off x="7810500" y="3273425"/>
            <a:ext cx="106363" cy="395288"/>
          </a:xfrm>
          <a:custGeom>
            <a:avLst/>
            <a:gdLst/>
            <a:ahLst/>
            <a:cxnLst/>
            <a:rect l="0" t="0" r="0" b="0"/>
            <a:pathLst>
              <a:path w="106363" h="395288">
                <a:moveTo>
                  <a:pt x="106362" y="0"/>
                </a:moveTo>
                <a:lnTo>
                  <a:pt x="0" y="395287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8" name="Freihandform 147"/>
          <p:cNvSpPr/>
          <p:nvPr>
            <p:custDataLst>
              <p:tags r:id="rId24"/>
            </p:custDataLst>
          </p:nvPr>
        </p:nvSpPr>
        <p:spPr bwMode="auto">
          <a:xfrm>
            <a:off x="7900987" y="3097212"/>
            <a:ext cx="38101" cy="146051"/>
          </a:xfrm>
          <a:custGeom>
            <a:avLst/>
            <a:gdLst/>
            <a:ahLst/>
            <a:cxnLst/>
            <a:rect l="0" t="0" r="0" b="0"/>
            <a:pathLst>
              <a:path w="38101" h="146051">
                <a:moveTo>
                  <a:pt x="38100" y="0"/>
                </a:moveTo>
                <a:lnTo>
                  <a:pt x="0" y="1460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7" name="Freihandform 146"/>
          <p:cNvSpPr/>
          <p:nvPr>
            <p:custDataLst>
              <p:tags r:id="rId25"/>
            </p:custDataLst>
          </p:nvPr>
        </p:nvSpPr>
        <p:spPr bwMode="auto">
          <a:xfrm>
            <a:off x="7843837" y="3097212"/>
            <a:ext cx="38101" cy="146051"/>
          </a:xfrm>
          <a:custGeom>
            <a:avLst/>
            <a:gdLst/>
            <a:ahLst/>
            <a:cxnLst/>
            <a:rect l="0" t="0" r="0" b="0"/>
            <a:pathLst>
              <a:path w="38101" h="146051">
                <a:moveTo>
                  <a:pt x="38100" y="0"/>
                </a:moveTo>
                <a:lnTo>
                  <a:pt x="0" y="1460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6" name="Segnaposto testo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597650" y="2954337"/>
            <a:ext cx="1143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07A8962-8B57-43CC-B552-DEB30F178B4C}" type="datetime'''''''''''''''''''''''''''''2''''''''''''''''0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20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27" name="Segnaposto testo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8096250" y="3408362"/>
            <a:ext cx="231775" cy="122237"/>
          </a:xfrm>
          <a:prstGeom prst="rect">
            <a:avLst/>
          </a:prstGeom>
          <a:solidFill>
            <a:srgbClr val="EFB64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15875" tIns="0" rIns="1587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C3090C4-96F7-426B-817A-8DC9A4AB1663}" type="datetime'3''''''''''''''''''''''.''''''''1''''''''''''0''''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3.10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74" name="Segnaposto testo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054725" y="2954337"/>
            <a:ext cx="1143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40352DB-8C94-4A34-902F-2424F5AE767F}" type="datetime'''''''''''''''''''''''''''1''''''''''''0''''''''''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10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75" name="Segnaposto testo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6330950" y="2954337"/>
            <a:ext cx="1143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AB03A14-B0CD-4B4A-B750-D7AB278DCF32}" type="datetime'''''1''''5''''''''''''''''''''''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15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61" name="Segnaposto testo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521700" y="3108325"/>
            <a:ext cx="28257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r>
              <a:rPr lang="en-US" sz="800" dirty="0" smtClean="0">
                <a:solidFill>
                  <a:schemeClr val="tx1"/>
                </a:solidFill>
                <a:latin typeface="TitilliumText14L"/>
                <a:sym typeface="TitilliumText14L"/>
              </a:rPr>
              <a:t>orët</a:t>
            </a:r>
          </a:p>
        </p:txBody>
      </p:sp>
      <p:sp>
        <p:nvSpPr>
          <p:cNvPr id="173" name="Segnaposto testo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5816600" y="2954337"/>
            <a:ext cx="5715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7324D05-2E91-4D5B-A934-AFD37A525B82}" type="datetime'''''''''''''''''''''''''''''''''''''''''''''''''''''5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5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71" name="Segnaposto testo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8378825" y="2954337"/>
            <a:ext cx="1143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06551CF-BB51-4A26-BF7F-03612E60200D}" type="datetime'''''''''''''''''6''''''''''''''5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65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70" name="Segnaposto testo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112125" y="2954337"/>
            <a:ext cx="1143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7A15AA1-8166-4891-A7AD-64AF3C37F221}" type="datetime'''''6''''0''''''''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60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66" name="Segnaposto testo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664450" y="2954337"/>
            <a:ext cx="1143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F5A12B5-F72E-4D15-B19F-E42B61385D85}" type="datetime'''''''''''''''''''''''4''''0''''''''''''''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40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65" name="Segnaposto testo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397750" y="2954337"/>
            <a:ext cx="1143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C238061-42C5-4B78-BD60-4B41D9C05439}" type="datetime'''''''3''''''''''''''''''5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35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64" name="Segnaposto testo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131050" y="2954337"/>
            <a:ext cx="1143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9D3B966-2301-462E-AA53-AD82899DA81C}" type="datetime'''''''''''''3''0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30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63" name="Segnaposto testo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864350" y="2954337"/>
            <a:ext cx="1143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3F3D4FC-8F5F-4657-83B8-381D856D55E2}" type="datetime'''''''''''''''''''''''2''''''5''''''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25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262" name="Segnaposto testo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5549900" y="2954337"/>
            <a:ext cx="5715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334662C-9C47-474A-9AFC-28444B3D875A}" type="datetime'''''''''''''''''0''''''''''''''''''''''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0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36" name="Segnaposto testo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5256212" y="4003675"/>
            <a:ext cx="220662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3DB48D19-97E8-4038-BE31-050F913D7478}" type="datetime'''''''''''''''''''''''''A''''''E''''O'''''''''''''">
              <a:rPr lang="en-US" sz="800" smtClean="0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buNone/>
              </a:pPr>
              <a:t>AEO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32" name="Segnaposto testo 2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886450" y="4003675"/>
            <a:ext cx="2889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5875" tIns="0" rIns="1587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16B697D-A50D-44DA-99C0-30D199FF9ED9}" type="datetime'''''''16''''''.''''''''''''''''''8''''''''''''''''0'''''">
              <a:rPr lang="en-US" sz="8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buNone/>
              </a:pPr>
              <a:t>16.80</a:t>
            </a:fld>
            <a:endParaRPr lang="sq-AL" sz="800" dirty="0" smtClean="0">
              <a:solidFill>
                <a:schemeClr val="bg1"/>
              </a:solidFill>
              <a:latin typeface="TitilliumText14L"/>
              <a:sym typeface="TitilliumText14L"/>
            </a:endParaRPr>
          </a:p>
        </p:txBody>
      </p:sp>
      <p:sp>
        <p:nvSpPr>
          <p:cNvPr id="131" name="Segnaposto testo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6919912" y="4003675"/>
            <a:ext cx="2889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5875" tIns="0" rIns="1587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C576C16-2A54-439C-9CC0-446025C53E38}" type="datetime'''2''''''1''''.''''''''''''''''''7''''''''''''''''0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21.70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30" name="Segnaposto testo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7534275" y="4003675"/>
            <a:ext cx="231775" cy="122237"/>
          </a:xfrm>
          <a:prstGeom prst="rect">
            <a:avLst/>
          </a:prstGeom>
          <a:solidFill>
            <a:srgbClr val="EFB64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15875" tIns="0" rIns="1587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56C2742-30B5-4295-9AA8-F49224B2A644}" type="datetime'''''''''''''''''''0.''''''''''1''0''''''''''''''''''''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0.10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37" name="Segnaposto testo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4594225" y="3408362"/>
            <a:ext cx="88265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9FA08CC9-263D-4B53-9C16-3D444D6DDDC2}" type="datetime'Av''''''e''''''''''''r''''''''a''''''ge Non''''''''-''''AE''O'">
              <a:rPr lang="en-US" sz="800" smtClean="0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buNone/>
              </a:pPr>
              <a:t>Average Non-AEO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29" name="Segnaposto testo 2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6138862" y="3408362"/>
            <a:ext cx="2889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5875" tIns="0" rIns="1587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55B1EB5-633B-4B52-8337-80A7574433D6}" type="datetime'''''2''''''''''''''6''''''''''''''.3''0'''''''''''''''''''''">
              <a:rPr lang="en-US" sz="8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buNone/>
              </a:pPr>
              <a:t>26.30</a:t>
            </a:fld>
            <a:endParaRPr lang="sq-AL" sz="800" dirty="0" smtClean="0">
              <a:solidFill>
                <a:schemeClr val="bg1"/>
              </a:solidFill>
              <a:latin typeface="TitilliumText14L"/>
              <a:sym typeface="TitilliumText14L"/>
            </a:endParaRPr>
          </a:p>
        </p:txBody>
      </p:sp>
      <p:sp useBgFill="1">
        <p:nvSpPr>
          <p:cNvPr id="128" name="Segnaposto testo 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7415212" y="3408362"/>
            <a:ext cx="2889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15875" tIns="0" rIns="15875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FC5F477-B88C-4982-BCE2-88CB1F3925A8}" type="datetime'''''''3''''''''''3.''''''0''''''''''''''''''''''''''''0'">
              <a:rPr lang="en-US" sz="8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buNone/>
              </a:pPr>
              <a:t>33.00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40" name="Rechteck 139"/>
          <p:cNvSpPr/>
          <p:nvPr>
            <p:custDataLst>
              <p:tags r:id="rId46"/>
            </p:custDataLst>
          </p:nvPr>
        </p:nvSpPr>
        <p:spPr bwMode="auto">
          <a:xfrm>
            <a:off x="5630862" y="4598987"/>
            <a:ext cx="142875" cy="106362"/>
          </a:xfrm>
          <a:prstGeom prst="rect">
            <a:avLst/>
          </a:prstGeom>
          <a:solidFill>
            <a:srgbClr val="AFE06E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81" name="Rechteck 180"/>
          <p:cNvSpPr/>
          <p:nvPr>
            <p:custDataLst>
              <p:tags r:id="rId47"/>
            </p:custDataLst>
          </p:nvPr>
        </p:nvSpPr>
        <p:spPr bwMode="auto">
          <a:xfrm>
            <a:off x="5630862" y="4772025"/>
            <a:ext cx="142875" cy="106362"/>
          </a:xfrm>
          <a:prstGeom prst="rect">
            <a:avLst/>
          </a:prstGeom>
          <a:solidFill>
            <a:srgbClr val="EFB643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41" name="Rechteck 140"/>
          <p:cNvSpPr/>
          <p:nvPr>
            <p:custDataLst>
              <p:tags r:id="rId48"/>
            </p:custDataLst>
          </p:nvPr>
        </p:nvSpPr>
        <p:spPr bwMode="auto">
          <a:xfrm>
            <a:off x="5630862" y="4425950"/>
            <a:ext cx="142875" cy="106362"/>
          </a:xfrm>
          <a:prstGeom prst="rect">
            <a:avLst/>
          </a:prstGeom>
          <a:solidFill>
            <a:srgbClr val="066BB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80" name="Segnaposto testo 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5824537" y="4768850"/>
            <a:ext cx="10509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4E651D1F-6276-4024-BC37-145EFB614CCC}" type="datetime'''''''dec''la''''r''ation'' ''t''''o ''re''l''e''''''''''ase'">
              <a:rPr lang="en-US" sz="800" smtClean="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buNone/>
              </a:pPr>
              <a:t>declaration to release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43" name="Segnaposto testo 2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5824537" y="4595812"/>
            <a:ext cx="1030287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9C2C34CD-634A-4A5E-8ADB-890F4791BE15}" type="datetime'''''''''''un''load'' to declar''a''''''''''ti''''''''''o''n'">
              <a:rPr lang="en-US" sz="800" smtClean="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buNone/>
              </a:pPr>
              <a:t>unload to declaration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42" name="Segnaposto testo 2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5824537" y="4422775"/>
            <a:ext cx="79375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sz="24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20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•"/>
              <a:defRPr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–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charset="0"/>
              <a:buChar char="»"/>
              <a:defRPr sz="1600" b="1" kern="1200">
                <a:solidFill>
                  <a:srgbClr val="17375E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E576B0D0-449B-4AE6-8A16-CB9D1C3BAE47}" type="datetime'ar''ri''v''''''a''l'' t''''o un''''''''''''''''l''''''''''oad'">
              <a:rPr lang="en-US" sz="800" smtClean="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buNone/>
              </a:pPr>
              <a:t>arrival to unload</a:t>
            </a:fld>
            <a:endParaRPr lang="sq-AL" sz="800" dirty="0" smtClean="0">
              <a:solidFill>
                <a:schemeClr val="tx1"/>
              </a:solidFill>
              <a:latin typeface="TitilliumText14L"/>
              <a:sym typeface="TitilliumText14L"/>
            </a:endParaRPr>
          </a:p>
        </p:txBody>
      </p:sp>
      <p:sp>
        <p:nvSpPr>
          <p:cNvPr id="145" name="Textfeld 144"/>
          <p:cNvSpPr txBox="1"/>
          <p:nvPr>
            <p:custDataLst>
              <p:tags r:id="rId52"/>
            </p:custDataLst>
          </p:nvPr>
        </p:nvSpPr>
        <p:spPr>
          <a:xfrm>
            <a:off x="6012160" y="2492896"/>
            <a:ext cx="1977504" cy="30777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noAutofit/>
          </a:bodyPr>
          <a:lstStyle/>
          <a:p>
            <a:r>
              <a:rPr lang="en-US" sz="800" b="1" dirty="0" smtClean="0"/>
              <a:t>Koha e zhdoganimit </a:t>
            </a:r>
            <a:r>
              <a:rPr lang="en-US" sz="800" b="1" dirty="0" err="1" smtClean="0"/>
              <a:t>për</a:t>
            </a:r>
            <a:r>
              <a:rPr lang="en-US" sz="800" b="1" dirty="0" smtClean="0"/>
              <a:t> </a:t>
            </a:r>
            <a:endParaRPr lang="sq-AL" sz="800" b="1" dirty="0" smtClean="0"/>
          </a:p>
          <a:p>
            <a:r>
              <a:rPr lang="en-US" sz="800" b="1" dirty="0" err="1" smtClean="0"/>
              <a:t>ngarkesat</a:t>
            </a:r>
            <a:r>
              <a:rPr lang="en-US" sz="800" b="1" dirty="0" smtClean="0"/>
              <a:t> detare</a:t>
            </a:r>
            <a:endParaRPr lang="sq-AL" sz="800" b="1" dirty="0"/>
          </a:p>
        </p:txBody>
      </p:sp>
      <p:sp>
        <p:nvSpPr>
          <p:cNvPr id="146" name="AutoShape 2"/>
          <p:cNvSpPr>
            <a:spLocks noChangeArrowheads="1"/>
          </p:cNvSpPr>
          <p:nvPr>
            <p:custDataLst>
              <p:tags r:id="rId53"/>
            </p:custDataLst>
          </p:nvPr>
        </p:nvSpPr>
        <p:spPr bwMode="auto">
          <a:xfrm rot="5400000">
            <a:off x="3023828" y="3897052"/>
            <a:ext cx="2736304" cy="216024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45720" rIns="45720" anchor="ctr"/>
          <a:lstStyle/>
          <a:p>
            <a:endParaRPr lang="en-US" dirty="0"/>
          </a:p>
        </p:txBody>
      </p:sp>
      <p:sp>
        <p:nvSpPr>
          <p:cNvPr id="339" name="Textfeld 338"/>
          <p:cNvSpPr txBox="1"/>
          <p:nvPr>
            <p:custDataLst>
              <p:tags r:id="rId54"/>
            </p:custDataLst>
          </p:nvPr>
        </p:nvSpPr>
        <p:spPr>
          <a:xfrm>
            <a:off x="2339752" y="1412776"/>
            <a:ext cx="5173917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solidFill>
                  <a:schemeClr val="tx2"/>
                </a:solidFill>
              </a:rPr>
              <a:t>Përfitimet e prekshme të AEO-ve - Shembulli i doganave të Japonisë</a:t>
            </a:r>
            <a:endParaRPr lang="sq-AL" sz="1200" b="1" dirty="0">
              <a:solidFill>
                <a:schemeClr val="tx2"/>
              </a:solidFill>
            </a:endParaRPr>
          </a:p>
        </p:txBody>
      </p:sp>
      <p:sp>
        <p:nvSpPr>
          <p:cNvPr id="381" name="Textfeld 380"/>
          <p:cNvSpPr txBox="1"/>
          <p:nvPr>
            <p:custDataLst>
              <p:tags r:id="rId55"/>
            </p:custDataLst>
          </p:nvPr>
        </p:nvSpPr>
        <p:spPr>
          <a:xfrm>
            <a:off x="467544" y="6237312"/>
            <a:ext cx="7992888" cy="21544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800" dirty="0" smtClean="0"/>
              <a:t>Burimi: Studimi për Kohën e Zhdoganimit i vitit 2009, Ministria e Financave të Japonisë</a:t>
            </a:r>
            <a:endParaRPr lang="sq-AL" sz="800" dirty="0"/>
          </a:p>
        </p:txBody>
      </p:sp>
      <p:grpSp>
        <p:nvGrpSpPr>
          <p:cNvPr id="189" name="Gruppieren 188"/>
          <p:cNvGrpSpPr/>
          <p:nvPr/>
        </p:nvGrpSpPr>
        <p:grpSpPr>
          <a:xfrm>
            <a:off x="8316416" y="476672"/>
            <a:ext cx="576064" cy="504056"/>
            <a:chOff x="755576" y="1196752"/>
            <a:chExt cx="5040560" cy="5112568"/>
          </a:xfrm>
        </p:grpSpPr>
        <p:sp>
          <p:nvSpPr>
            <p:cNvPr id="190" name="Rechteck 189"/>
            <p:cNvSpPr/>
            <p:nvPr/>
          </p:nvSpPr>
          <p:spPr>
            <a:xfrm>
              <a:off x="2483768" y="1196752"/>
              <a:ext cx="1584176" cy="36004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hteck 190"/>
            <p:cNvSpPr/>
            <p:nvPr/>
          </p:nvSpPr>
          <p:spPr>
            <a:xfrm>
              <a:off x="755576" y="1844824"/>
              <a:ext cx="1152128" cy="36004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hteck 191"/>
            <p:cNvSpPr/>
            <p:nvPr/>
          </p:nvSpPr>
          <p:spPr>
            <a:xfrm>
              <a:off x="4644008" y="1844824"/>
              <a:ext cx="1152128" cy="36004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93" name="Rechteck 192"/>
            <p:cNvSpPr/>
            <p:nvPr/>
          </p:nvSpPr>
          <p:spPr>
            <a:xfrm>
              <a:off x="755576" y="234888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94" name="Rechteck 193"/>
            <p:cNvSpPr/>
            <p:nvPr/>
          </p:nvSpPr>
          <p:spPr>
            <a:xfrm>
              <a:off x="755576" y="443711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95" name="Rechteck 194"/>
            <p:cNvSpPr/>
            <p:nvPr/>
          </p:nvSpPr>
          <p:spPr>
            <a:xfrm>
              <a:off x="4644008" y="249289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96" name="Rechteck 195"/>
            <p:cNvSpPr/>
            <p:nvPr/>
          </p:nvSpPr>
          <p:spPr>
            <a:xfrm>
              <a:off x="4644008" y="285293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97" name="Rechteck 196"/>
            <p:cNvSpPr/>
            <p:nvPr/>
          </p:nvSpPr>
          <p:spPr>
            <a:xfrm>
              <a:off x="2699792" y="1844824"/>
              <a:ext cx="1152128" cy="36004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98" name="Rechteck 197"/>
            <p:cNvSpPr/>
            <p:nvPr/>
          </p:nvSpPr>
          <p:spPr>
            <a:xfrm>
              <a:off x="2699792" y="321297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99" name="Rechteck 198"/>
            <p:cNvSpPr/>
            <p:nvPr/>
          </p:nvSpPr>
          <p:spPr>
            <a:xfrm>
              <a:off x="2699792" y="285293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00" name="Rechteck 199"/>
            <p:cNvSpPr/>
            <p:nvPr/>
          </p:nvSpPr>
          <p:spPr>
            <a:xfrm>
              <a:off x="2699792" y="249289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cxnSp>
          <p:nvCxnSpPr>
            <p:cNvPr id="201" name="Gerade Verbindung 200"/>
            <p:cNvCxnSpPr>
              <a:stCxn id="190" idx="2"/>
              <a:endCxn id="197" idx="0"/>
            </p:cNvCxnSpPr>
            <p:nvPr/>
          </p:nvCxnSpPr>
          <p:spPr>
            <a:xfrm>
              <a:off x="3275856" y="1556792"/>
              <a:ext cx="0" cy="28803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Form 35"/>
            <p:cNvCxnSpPr>
              <a:stCxn id="190" idx="2"/>
              <a:endCxn id="191" idx="0"/>
            </p:cNvCxnSpPr>
            <p:nvPr/>
          </p:nvCxnSpPr>
          <p:spPr>
            <a:xfrm rot="5400000">
              <a:off x="2159732" y="728700"/>
              <a:ext cx="288032" cy="1944216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Gewinkelte Verbindung 202"/>
            <p:cNvCxnSpPr>
              <a:stCxn id="190" idx="2"/>
              <a:endCxn id="192" idx="0"/>
            </p:cNvCxnSpPr>
            <p:nvPr/>
          </p:nvCxnSpPr>
          <p:spPr>
            <a:xfrm rot="16200000" flipH="1">
              <a:off x="4103948" y="728700"/>
              <a:ext cx="288032" cy="1944216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Gewinkelte Verbindung 203"/>
            <p:cNvCxnSpPr>
              <a:stCxn id="197" idx="1"/>
              <a:endCxn id="200" idx="1"/>
            </p:cNvCxnSpPr>
            <p:nvPr/>
          </p:nvCxnSpPr>
          <p:spPr>
            <a:xfrm rot="10800000" flipV="1">
              <a:off x="2699792" y="2024844"/>
              <a:ext cx="12700" cy="61206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Gewinkelte Verbindung 204"/>
            <p:cNvCxnSpPr>
              <a:stCxn id="197" idx="1"/>
              <a:endCxn id="199" idx="1"/>
            </p:cNvCxnSpPr>
            <p:nvPr/>
          </p:nvCxnSpPr>
          <p:spPr>
            <a:xfrm rot="10800000" flipV="1">
              <a:off x="2699792" y="2024844"/>
              <a:ext cx="12700" cy="97210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Gewinkelte Verbindung 205"/>
            <p:cNvCxnSpPr>
              <a:stCxn id="197" idx="1"/>
              <a:endCxn id="198" idx="1"/>
            </p:cNvCxnSpPr>
            <p:nvPr/>
          </p:nvCxnSpPr>
          <p:spPr>
            <a:xfrm rot="10800000" flipV="1">
              <a:off x="2699792" y="2024844"/>
              <a:ext cx="12700" cy="133214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Gewinkelte Verbindung 206"/>
            <p:cNvCxnSpPr>
              <a:stCxn id="191" idx="1"/>
              <a:endCxn id="193" idx="1"/>
            </p:cNvCxnSpPr>
            <p:nvPr/>
          </p:nvCxnSpPr>
          <p:spPr>
            <a:xfrm rot="10800000" flipV="1">
              <a:off x="755576" y="2024844"/>
              <a:ext cx="12700" cy="468052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Gewinkelte Verbindung 207"/>
            <p:cNvCxnSpPr>
              <a:stCxn id="191" idx="1"/>
              <a:endCxn id="194" idx="1"/>
            </p:cNvCxnSpPr>
            <p:nvPr/>
          </p:nvCxnSpPr>
          <p:spPr>
            <a:xfrm rot="10800000" flipV="1">
              <a:off x="755576" y="2024844"/>
              <a:ext cx="12700" cy="2556284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Gewinkelte Verbindung 208"/>
            <p:cNvCxnSpPr>
              <a:stCxn id="192" idx="1"/>
              <a:endCxn id="195" idx="1"/>
            </p:cNvCxnSpPr>
            <p:nvPr/>
          </p:nvCxnSpPr>
          <p:spPr>
            <a:xfrm rot="10800000" flipV="1">
              <a:off x="4644008" y="2024844"/>
              <a:ext cx="12700" cy="61206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Gewinkelte Verbindung 209"/>
            <p:cNvCxnSpPr>
              <a:stCxn id="192" idx="1"/>
              <a:endCxn id="196" idx="1"/>
            </p:cNvCxnSpPr>
            <p:nvPr/>
          </p:nvCxnSpPr>
          <p:spPr>
            <a:xfrm rot="10800000" flipV="1">
              <a:off x="4644008" y="2024844"/>
              <a:ext cx="12700" cy="97210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1" name="Rechteck 210"/>
            <p:cNvSpPr/>
            <p:nvPr/>
          </p:nvSpPr>
          <p:spPr>
            <a:xfrm>
              <a:off x="899592" y="270892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12" name="Rechteck 211"/>
            <p:cNvSpPr/>
            <p:nvPr/>
          </p:nvSpPr>
          <p:spPr>
            <a:xfrm>
              <a:off x="899592" y="306896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13" name="Rechteck 212"/>
            <p:cNvSpPr/>
            <p:nvPr/>
          </p:nvSpPr>
          <p:spPr>
            <a:xfrm>
              <a:off x="899592" y="342900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14" name="Rechteck 213"/>
            <p:cNvSpPr/>
            <p:nvPr/>
          </p:nvSpPr>
          <p:spPr>
            <a:xfrm>
              <a:off x="899592" y="393305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15" name="Rechteck 214"/>
            <p:cNvSpPr/>
            <p:nvPr/>
          </p:nvSpPr>
          <p:spPr>
            <a:xfrm>
              <a:off x="899592" y="479715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33" name="Rechteck 232"/>
            <p:cNvSpPr/>
            <p:nvPr/>
          </p:nvSpPr>
          <p:spPr>
            <a:xfrm>
              <a:off x="899592" y="515719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34" name="Rechteck 233"/>
            <p:cNvSpPr/>
            <p:nvPr/>
          </p:nvSpPr>
          <p:spPr>
            <a:xfrm>
              <a:off x="899592" y="551723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35" name="Rechteck 234"/>
            <p:cNvSpPr/>
            <p:nvPr/>
          </p:nvSpPr>
          <p:spPr>
            <a:xfrm>
              <a:off x="899592" y="6021288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cxnSp>
          <p:nvCxnSpPr>
            <p:cNvPr id="236" name="Gewinkelte Verbindung 235"/>
            <p:cNvCxnSpPr>
              <a:stCxn id="193" idx="1"/>
              <a:endCxn id="211" idx="1"/>
            </p:cNvCxnSpPr>
            <p:nvPr/>
          </p:nvCxnSpPr>
          <p:spPr>
            <a:xfrm rot="10800000" flipH="1" flipV="1">
              <a:off x="755576" y="2492896"/>
              <a:ext cx="144016" cy="360040"/>
            </a:xfrm>
            <a:prstGeom prst="bentConnector3">
              <a:avLst>
                <a:gd name="adj1" fmla="val -64668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Gewinkelte Verbindung 236"/>
            <p:cNvCxnSpPr>
              <a:stCxn id="193" idx="1"/>
              <a:endCxn id="212" idx="1"/>
            </p:cNvCxnSpPr>
            <p:nvPr/>
          </p:nvCxnSpPr>
          <p:spPr>
            <a:xfrm rot="10800000" flipH="1" flipV="1">
              <a:off x="755576" y="2492896"/>
              <a:ext cx="144016" cy="720080"/>
            </a:xfrm>
            <a:prstGeom prst="bentConnector3">
              <a:avLst>
                <a:gd name="adj1" fmla="val -64669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Gewinkelte Verbindung 237"/>
            <p:cNvCxnSpPr>
              <a:stCxn id="193" idx="1"/>
              <a:endCxn id="213" idx="1"/>
            </p:cNvCxnSpPr>
            <p:nvPr/>
          </p:nvCxnSpPr>
          <p:spPr>
            <a:xfrm rot="10800000" flipH="1" flipV="1">
              <a:off x="755576" y="2492896"/>
              <a:ext cx="144016" cy="1080120"/>
            </a:xfrm>
            <a:prstGeom prst="bentConnector3">
              <a:avLst>
                <a:gd name="adj1" fmla="val -64669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Gewinkelte Verbindung 238"/>
            <p:cNvCxnSpPr>
              <a:stCxn id="193" idx="1"/>
              <a:endCxn id="214" idx="1"/>
            </p:cNvCxnSpPr>
            <p:nvPr/>
          </p:nvCxnSpPr>
          <p:spPr>
            <a:xfrm rot="10800000" flipH="1" flipV="1">
              <a:off x="755576" y="2492896"/>
              <a:ext cx="144016" cy="1584176"/>
            </a:xfrm>
            <a:prstGeom prst="bentConnector3">
              <a:avLst>
                <a:gd name="adj1" fmla="val -64669"/>
              </a:avLst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Gewinkelte Verbindung 239"/>
            <p:cNvCxnSpPr>
              <a:stCxn id="194" idx="1"/>
              <a:endCxn id="215" idx="1"/>
            </p:cNvCxnSpPr>
            <p:nvPr/>
          </p:nvCxnSpPr>
          <p:spPr>
            <a:xfrm rot="10800000" flipH="1" flipV="1">
              <a:off x="755576" y="4581128"/>
              <a:ext cx="144016" cy="360040"/>
            </a:xfrm>
            <a:prstGeom prst="bentConnector3">
              <a:avLst>
                <a:gd name="adj1" fmla="val -61118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Form 88"/>
            <p:cNvCxnSpPr>
              <a:stCxn id="194" idx="1"/>
              <a:endCxn id="233" idx="1"/>
            </p:cNvCxnSpPr>
            <p:nvPr/>
          </p:nvCxnSpPr>
          <p:spPr>
            <a:xfrm rot="10800000" flipH="1" flipV="1">
              <a:off x="755576" y="4581128"/>
              <a:ext cx="144016" cy="720080"/>
            </a:xfrm>
            <a:prstGeom prst="bentConnector3">
              <a:avLst>
                <a:gd name="adj1" fmla="val -63853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Form 90"/>
            <p:cNvCxnSpPr>
              <a:stCxn id="194" idx="1"/>
              <a:endCxn id="234" idx="1"/>
            </p:cNvCxnSpPr>
            <p:nvPr/>
          </p:nvCxnSpPr>
          <p:spPr>
            <a:xfrm rot="10800000" flipH="1" flipV="1">
              <a:off x="755576" y="4581128"/>
              <a:ext cx="144016" cy="1080120"/>
            </a:xfrm>
            <a:prstGeom prst="bentConnector3">
              <a:avLst>
                <a:gd name="adj1" fmla="val -64435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Gewinkelte Verbindung 242"/>
            <p:cNvCxnSpPr>
              <a:stCxn id="194" idx="1"/>
              <a:endCxn id="235" idx="1"/>
            </p:cNvCxnSpPr>
            <p:nvPr/>
          </p:nvCxnSpPr>
          <p:spPr>
            <a:xfrm rot="10800000" flipH="1" flipV="1">
              <a:off x="755576" y="4581128"/>
              <a:ext cx="144016" cy="1584176"/>
            </a:xfrm>
            <a:prstGeom prst="bentConnector3">
              <a:avLst>
                <a:gd name="adj1" fmla="val -64435"/>
              </a:avLst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Sottotitolo 8"/>
          <p:cNvSpPr>
            <a:spLocks noGrp="1"/>
          </p:cNvSpPr>
          <p:nvPr>
            <p:ph type="subTitle" idx="1"/>
          </p:nvPr>
        </p:nvSpPr>
        <p:spPr>
          <a:xfrm>
            <a:off x="755576" y="2420888"/>
            <a:ext cx="7704856" cy="1800200"/>
          </a:xfrm>
        </p:spPr>
        <p:txBody>
          <a:bodyPr/>
          <a:lstStyle/>
          <a:p>
            <a:pPr marL="361950">
              <a:spcBef>
                <a:spcPct val="0"/>
              </a:spcBef>
              <a:buClr>
                <a:schemeClr val="bg1"/>
              </a:buClr>
            </a:pPr>
            <a:r>
              <a:rPr lang="en-US" sz="4000" b="1" dirty="0" smtClean="0"/>
              <a:t>c) Masat për menaxhimin ndërkufitar</a:t>
            </a:r>
            <a:endParaRPr lang="sq-AL" sz="4000" b="1" dirty="0">
              <a:ea typeface="+mj-ea"/>
              <a:cs typeface="+mj-cs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033696B-4224-4D74-92D2-B2221F4E303A}" type="slidenum">
              <a:rPr lang="it-IT"/>
              <a:pPr>
                <a:defRPr/>
              </a:pPr>
              <a:t>22</a:t>
            </a:fld>
            <a:endParaRPr lang="sq-AL"/>
          </a:p>
        </p:txBody>
      </p:sp>
    </p:spTree>
    <p:extLst>
      <p:ext uri="{BB962C8B-B14F-4D97-AF65-F5344CB8AC3E}">
        <p14:creationId xmlns:p14="http://schemas.microsoft.com/office/powerpoint/2010/main" val="2867567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smtClean="0"/>
              <a:t>Menaxhimi ndërkufitar</a:t>
            </a:r>
            <a:endParaRPr lang="sq-AL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>
                <a:hlinkClick r:id="rId2"/>
              </a:rPr>
              <a:t>Kontrollet e përbashkëta kufitare</a:t>
            </a:r>
            <a:r>
              <a:rPr dirty="0" smtClean="0"/>
              <a:t> </a:t>
            </a:r>
          </a:p>
          <a:p>
            <a:pPr lvl="1"/>
            <a:r>
              <a:rPr dirty="0" smtClean="0"/>
              <a:t>ndihmojnë në eliminimin e veprimeve të tepërta në procesin e zhdoganimit në pikat e kalimit kufitar tokësor. </a:t>
            </a:r>
          </a:p>
          <a:p>
            <a:r>
              <a:rPr dirty="0" err="1" smtClean="0"/>
              <a:t>Standardet</a:t>
            </a:r>
            <a:r>
              <a:rPr dirty="0" smtClean="0"/>
              <a:t> e</a:t>
            </a:r>
            <a:r>
              <a:rPr lang="sq-AL" dirty="0" smtClean="0"/>
              <a:t> </a:t>
            </a:r>
            <a:r>
              <a:rPr lang="en-US" dirty="0" err="1" smtClean="0">
                <a:hlinkClick r:id="rId3"/>
              </a:rPr>
              <a:t>menaxhimit</a:t>
            </a:r>
            <a:r>
              <a:rPr lang="en-US" dirty="0" smtClean="0">
                <a:hlinkClick r:id="rId3"/>
              </a:rPr>
              <a:t> të rrezikut</a:t>
            </a:r>
            <a:r>
              <a:rPr dirty="0" smtClean="0"/>
              <a:t> </a:t>
            </a:r>
          </a:p>
          <a:p>
            <a:pPr lvl="1"/>
            <a:r>
              <a:rPr dirty="0" smtClean="0"/>
              <a:t>rrisin parashikueshmërinë në të gjithë zinxhirin e furnizimit nga prodhuesi te konsumatori. </a:t>
            </a:r>
          </a:p>
          <a:p>
            <a:r>
              <a:rPr dirty="0" err="1" smtClean="0"/>
              <a:t>Marrëveshjet</a:t>
            </a:r>
            <a:r>
              <a:rPr dirty="0" smtClean="0"/>
              <a:t> </a:t>
            </a:r>
            <a:r>
              <a:rPr dirty="0" err="1" smtClean="0"/>
              <a:t>për</a:t>
            </a:r>
            <a:r>
              <a:rPr lang="sq-AL" dirty="0" smtClean="0"/>
              <a:t> </a:t>
            </a:r>
            <a:r>
              <a:rPr lang="en-US" dirty="0" err="1" smtClean="0">
                <a:hlinkClick r:id="rId4"/>
              </a:rPr>
              <a:t>transitet</a:t>
            </a:r>
            <a:r>
              <a:rPr lang="en-US" dirty="0" smtClean="0">
                <a:hlinkClick r:id="rId4"/>
              </a:rPr>
              <a:t> ndërkombëtare</a:t>
            </a:r>
            <a:r>
              <a:rPr dirty="0" smtClean="0"/>
              <a:t> </a:t>
            </a:r>
          </a:p>
          <a:p>
            <a:pPr lvl="1"/>
            <a:r>
              <a:rPr dirty="0" smtClean="0"/>
              <a:t>sigurojnë që mallrat të mund të dorëzohen shpejt dhe pa probleme në destinacionin fundor pa iu nënshtruar procesit të zhdoganimit në çdo shtet ku ato kalojnë. </a:t>
            </a:r>
            <a:endParaRPr lang="sq-AL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42D9F6-4E0E-41D8-BC1F-BF1CE87366CF}" type="slidenum">
              <a:rPr lang="it-IT" smtClean="0"/>
              <a:pPr>
                <a:defRPr/>
              </a:pPr>
              <a:t>23</a:t>
            </a:fld>
            <a:endParaRPr lang="sq-AL"/>
          </a:p>
        </p:txBody>
      </p:sp>
      <p:grpSp>
        <p:nvGrpSpPr>
          <p:cNvPr id="5" name="Gruppieren 4"/>
          <p:cNvGrpSpPr/>
          <p:nvPr/>
        </p:nvGrpSpPr>
        <p:grpSpPr>
          <a:xfrm>
            <a:off x="8316416" y="476672"/>
            <a:ext cx="576064" cy="504056"/>
            <a:chOff x="755576" y="1196752"/>
            <a:chExt cx="5040560" cy="5112568"/>
          </a:xfrm>
        </p:grpSpPr>
        <p:sp>
          <p:nvSpPr>
            <p:cNvPr id="6" name="Rechteck 5"/>
            <p:cNvSpPr/>
            <p:nvPr/>
          </p:nvSpPr>
          <p:spPr>
            <a:xfrm>
              <a:off x="2483768" y="1196752"/>
              <a:ext cx="1584176" cy="36004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>
            <a:xfrm>
              <a:off x="755576" y="1844824"/>
              <a:ext cx="1152128" cy="36004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8" name="Rechteck 7"/>
            <p:cNvSpPr/>
            <p:nvPr/>
          </p:nvSpPr>
          <p:spPr>
            <a:xfrm>
              <a:off x="4644008" y="1844824"/>
              <a:ext cx="1152128" cy="36004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9" name="Rechteck 8"/>
            <p:cNvSpPr/>
            <p:nvPr/>
          </p:nvSpPr>
          <p:spPr>
            <a:xfrm>
              <a:off x="755576" y="234888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0" name="Rechteck 9"/>
            <p:cNvSpPr/>
            <p:nvPr/>
          </p:nvSpPr>
          <p:spPr>
            <a:xfrm>
              <a:off x="755576" y="443711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4644008" y="249289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4644008" y="285293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eck 12"/>
            <p:cNvSpPr/>
            <p:nvPr/>
          </p:nvSpPr>
          <p:spPr>
            <a:xfrm>
              <a:off x="2699792" y="1844824"/>
              <a:ext cx="1152128" cy="36004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2699792" y="321297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2699792" y="285293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2699792" y="249289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Gerade Verbindung 16"/>
            <p:cNvCxnSpPr>
              <a:stCxn id="6" idx="2"/>
              <a:endCxn id="13" idx="0"/>
            </p:cNvCxnSpPr>
            <p:nvPr/>
          </p:nvCxnSpPr>
          <p:spPr>
            <a:xfrm>
              <a:off x="3275856" y="1556792"/>
              <a:ext cx="0" cy="28803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Form 35"/>
            <p:cNvCxnSpPr>
              <a:stCxn id="6" idx="2"/>
              <a:endCxn id="7" idx="0"/>
            </p:cNvCxnSpPr>
            <p:nvPr/>
          </p:nvCxnSpPr>
          <p:spPr>
            <a:xfrm rot="5400000">
              <a:off x="2159732" y="728700"/>
              <a:ext cx="288032" cy="1944216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winkelte Verbindung 18"/>
            <p:cNvCxnSpPr>
              <a:stCxn id="6" idx="2"/>
              <a:endCxn id="8" idx="0"/>
            </p:cNvCxnSpPr>
            <p:nvPr/>
          </p:nvCxnSpPr>
          <p:spPr>
            <a:xfrm rot="16200000" flipH="1">
              <a:off x="4103948" y="728700"/>
              <a:ext cx="288032" cy="1944216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winkelte Verbindung 19"/>
            <p:cNvCxnSpPr>
              <a:stCxn id="13" idx="1"/>
              <a:endCxn id="16" idx="1"/>
            </p:cNvCxnSpPr>
            <p:nvPr/>
          </p:nvCxnSpPr>
          <p:spPr>
            <a:xfrm rot="10800000" flipV="1">
              <a:off x="2699792" y="2024844"/>
              <a:ext cx="12700" cy="61206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winkelte Verbindung 20"/>
            <p:cNvCxnSpPr>
              <a:stCxn id="13" idx="1"/>
              <a:endCxn id="15" idx="1"/>
            </p:cNvCxnSpPr>
            <p:nvPr/>
          </p:nvCxnSpPr>
          <p:spPr>
            <a:xfrm rot="10800000" flipV="1">
              <a:off x="2699792" y="2024844"/>
              <a:ext cx="12700" cy="97210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winkelte Verbindung 21"/>
            <p:cNvCxnSpPr>
              <a:stCxn id="13" idx="1"/>
              <a:endCxn id="14" idx="1"/>
            </p:cNvCxnSpPr>
            <p:nvPr/>
          </p:nvCxnSpPr>
          <p:spPr>
            <a:xfrm rot="10800000" flipV="1">
              <a:off x="2699792" y="2024844"/>
              <a:ext cx="12700" cy="133214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winkelte Verbindung 22"/>
            <p:cNvCxnSpPr>
              <a:stCxn id="7" idx="1"/>
              <a:endCxn id="9" idx="1"/>
            </p:cNvCxnSpPr>
            <p:nvPr/>
          </p:nvCxnSpPr>
          <p:spPr>
            <a:xfrm rot="10800000" flipV="1">
              <a:off x="755576" y="2024844"/>
              <a:ext cx="12700" cy="468052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winkelte Verbindung 23"/>
            <p:cNvCxnSpPr>
              <a:stCxn id="7" idx="1"/>
              <a:endCxn id="10" idx="1"/>
            </p:cNvCxnSpPr>
            <p:nvPr/>
          </p:nvCxnSpPr>
          <p:spPr>
            <a:xfrm rot="10800000" flipV="1">
              <a:off x="755576" y="2024844"/>
              <a:ext cx="12700" cy="2556284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winkelte Verbindung 24"/>
            <p:cNvCxnSpPr>
              <a:stCxn id="8" idx="1"/>
              <a:endCxn id="11" idx="1"/>
            </p:cNvCxnSpPr>
            <p:nvPr/>
          </p:nvCxnSpPr>
          <p:spPr>
            <a:xfrm rot="10800000" flipV="1">
              <a:off x="4644008" y="2024844"/>
              <a:ext cx="12700" cy="61206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winkelte Verbindung 25"/>
            <p:cNvCxnSpPr>
              <a:stCxn id="8" idx="1"/>
              <a:endCxn id="12" idx="1"/>
            </p:cNvCxnSpPr>
            <p:nvPr/>
          </p:nvCxnSpPr>
          <p:spPr>
            <a:xfrm rot="10800000" flipV="1">
              <a:off x="4644008" y="2024844"/>
              <a:ext cx="12700" cy="97210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echteck 26"/>
            <p:cNvSpPr/>
            <p:nvPr/>
          </p:nvSpPr>
          <p:spPr>
            <a:xfrm>
              <a:off x="899592" y="270892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899592" y="306896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899592" y="342900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899592" y="393305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1" name="Rechteck 30"/>
            <p:cNvSpPr/>
            <p:nvPr/>
          </p:nvSpPr>
          <p:spPr>
            <a:xfrm>
              <a:off x="899592" y="479715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2" name="Rechteck 31"/>
            <p:cNvSpPr/>
            <p:nvPr/>
          </p:nvSpPr>
          <p:spPr>
            <a:xfrm>
              <a:off x="899592" y="515719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899592" y="551723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899592" y="6021288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cxnSp>
          <p:nvCxnSpPr>
            <p:cNvPr id="35" name="Gewinkelte Verbindung 34"/>
            <p:cNvCxnSpPr>
              <a:stCxn id="9" idx="1"/>
              <a:endCxn id="27" idx="1"/>
            </p:cNvCxnSpPr>
            <p:nvPr/>
          </p:nvCxnSpPr>
          <p:spPr>
            <a:xfrm rot="10800000" flipH="1" flipV="1">
              <a:off x="755576" y="2492896"/>
              <a:ext cx="144016" cy="360040"/>
            </a:xfrm>
            <a:prstGeom prst="bentConnector3">
              <a:avLst>
                <a:gd name="adj1" fmla="val -64668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winkelte Verbindung 35"/>
            <p:cNvCxnSpPr>
              <a:stCxn id="9" idx="1"/>
              <a:endCxn id="28" idx="1"/>
            </p:cNvCxnSpPr>
            <p:nvPr/>
          </p:nvCxnSpPr>
          <p:spPr>
            <a:xfrm rot="10800000" flipH="1" flipV="1">
              <a:off x="755576" y="2492896"/>
              <a:ext cx="144016" cy="720080"/>
            </a:xfrm>
            <a:prstGeom prst="bentConnector3">
              <a:avLst>
                <a:gd name="adj1" fmla="val -64669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winkelte Verbindung 36"/>
            <p:cNvCxnSpPr>
              <a:stCxn id="9" idx="1"/>
              <a:endCxn id="29" idx="1"/>
            </p:cNvCxnSpPr>
            <p:nvPr/>
          </p:nvCxnSpPr>
          <p:spPr>
            <a:xfrm rot="10800000" flipH="1" flipV="1">
              <a:off x="755576" y="2492896"/>
              <a:ext cx="144016" cy="1080120"/>
            </a:xfrm>
            <a:prstGeom prst="bentConnector3">
              <a:avLst>
                <a:gd name="adj1" fmla="val -64669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winkelte Verbindung 37"/>
            <p:cNvCxnSpPr>
              <a:stCxn id="9" idx="1"/>
              <a:endCxn id="30" idx="1"/>
            </p:cNvCxnSpPr>
            <p:nvPr/>
          </p:nvCxnSpPr>
          <p:spPr>
            <a:xfrm rot="10800000" flipH="1" flipV="1">
              <a:off x="755576" y="2492896"/>
              <a:ext cx="144016" cy="1584176"/>
            </a:xfrm>
            <a:prstGeom prst="bentConnector3">
              <a:avLst>
                <a:gd name="adj1" fmla="val -64669"/>
              </a:avLst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winkelte Verbindung 38"/>
            <p:cNvCxnSpPr>
              <a:stCxn id="10" idx="1"/>
              <a:endCxn id="31" idx="1"/>
            </p:cNvCxnSpPr>
            <p:nvPr/>
          </p:nvCxnSpPr>
          <p:spPr>
            <a:xfrm rot="10800000" flipH="1" flipV="1">
              <a:off x="755576" y="4581128"/>
              <a:ext cx="144016" cy="360040"/>
            </a:xfrm>
            <a:prstGeom prst="bentConnector3">
              <a:avLst>
                <a:gd name="adj1" fmla="val -61118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Form 88"/>
            <p:cNvCxnSpPr>
              <a:stCxn id="10" idx="1"/>
              <a:endCxn id="32" idx="1"/>
            </p:cNvCxnSpPr>
            <p:nvPr/>
          </p:nvCxnSpPr>
          <p:spPr>
            <a:xfrm rot="10800000" flipH="1" flipV="1">
              <a:off x="755576" y="4581128"/>
              <a:ext cx="144016" cy="720080"/>
            </a:xfrm>
            <a:prstGeom prst="bentConnector3">
              <a:avLst>
                <a:gd name="adj1" fmla="val -63853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Form 90"/>
            <p:cNvCxnSpPr>
              <a:stCxn id="10" idx="1"/>
              <a:endCxn id="33" idx="1"/>
            </p:cNvCxnSpPr>
            <p:nvPr/>
          </p:nvCxnSpPr>
          <p:spPr>
            <a:xfrm rot="10800000" flipH="1" flipV="1">
              <a:off x="755576" y="4581128"/>
              <a:ext cx="144016" cy="1080120"/>
            </a:xfrm>
            <a:prstGeom prst="bentConnector3">
              <a:avLst>
                <a:gd name="adj1" fmla="val -64435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winkelte Verbindung 41"/>
            <p:cNvCxnSpPr>
              <a:stCxn id="10" idx="1"/>
              <a:endCxn id="34" idx="1"/>
            </p:cNvCxnSpPr>
            <p:nvPr/>
          </p:nvCxnSpPr>
          <p:spPr>
            <a:xfrm rot="10800000" flipH="1" flipV="1">
              <a:off x="755576" y="4581128"/>
              <a:ext cx="144016" cy="1584176"/>
            </a:xfrm>
            <a:prstGeom prst="bentConnector3">
              <a:avLst>
                <a:gd name="adj1" fmla="val -64435"/>
              </a:avLst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smtClean="0"/>
              <a:t>Shembull - Kontrollet e përbashkëta kufitare</a:t>
            </a:r>
            <a:endParaRPr lang="sq-AL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42D9F6-4E0E-41D8-BC1F-BF1CE87366CF}" type="slidenum">
              <a:rPr lang="it-IT" smtClean="0"/>
              <a:pPr>
                <a:defRPr/>
              </a:pPr>
              <a:t>24</a:t>
            </a:fld>
            <a:endParaRPr lang="sq-AL"/>
          </a:p>
        </p:txBody>
      </p:sp>
      <p:grpSp>
        <p:nvGrpSpPr>
          <p:cNvPr id="5" name="Gruppieren 4"/>
          <p:cNvGrpSpPr/>
          <p:nvPr/>
        </p:nvGrpSpPr>
        <p:grpSpPr>
          <a:xfrm>
            <a:off x="8316416" y="476672"/>
            <a:ext cx="576064" cy="504056"/>
            <a:chOff x="755576" y="1196752"/>
            <a:chExt cx="5040560" cy="5112568"/>
          </a:xfrm>
        </p:grpSpPr>
        <p:sp>
          <p:nvSpPr>
            <p:cNvPr id="6" name="Rechteck 5"/>
            <p:cNvSpPr/>
            <p:nvPr/>
          </p:nvSpPr>
          <p:spPr>
            <a:xfrm>
              <a:off x="2483768" y="1196752"/>
              <a:ext cx="1584176" cy="36004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>
            <a:xfrm>
              <a:off x="755576" y="1844824"/>
              <a:ext cx="1152128" cy="36004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8" name="Rechteck 7"/>
            <p:cNvSpPr/>
            <p:nvPr/>
          </p:nvSpPr>
          <p:spPr>
            <a:xfrm>
              <a:off x="4644008" y="1844824"/>
              <a:ext cx="1152128" cy="36004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9" name="Rechteck 8"/>
            <p:cNvSpPr/>
            <p:nvPr/>
          </p:nvSpPr>
          <p:spPr>
            <a:xfrm>
              <a:off x="755576" y="234888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0" name="Rechteck 9"/>
            <p:cNvSpPr/>
            <p:nvPr/>
          </p:nvSpPr>
          <p:spPr>
            <a:xfrm>
              <a:off x="755576" y="443711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eck 10"/>
            <p:cNvSpPr/>
            <p:nvPr/>
          </p:nvSpPr>
          <p:spPr>
            <a:xfrm>
              <a:off x="4644008" y="249289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4644008" y="285293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eck 12"/>
            <p:cNvSpPr/>
            <p:nvPr/>
          </p:nvSpPr>
          <p:spPr>
            <a:xfrm>
              <a:off x="2699792" y="1844824"/>
              <a:ext cx="1152128" cy="36004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4" name="Rechteck 13"/>
            <p:cNvSpPr/>
            <p:nvPr/>
          </p:nvSpPr>
          <p:spPr>
            <a:xfrm>
              <a:off x="2699792" y="321297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2699792" y="285293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2699792" y="249289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cxnSp>
          <p:nvCxnSpPr>
            <p:cNvPr id="17" name="Gerade Verbindung 16"/>
            <p:cNvCxnSpPr>
              <a:stCxn id="6" idx="2"/>
              <a:endCxn id="13" idx="0"/>
            </p:cNvCxnSpPr>
            <p:nvPr/>
          </p:nvCxnSpPr>
          <p:spPr>
            <a:xfrm>
              <a:off x="3275856" y="1556792"/>
              <a:ext cx="0" cy="28803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Form 35"/>
            <p:cNvCxnSpPr>
              <a:stCxn id="6" idx="2"/>
              <a:endCxn id="7" idx="0"/>
            </p:cNvCxnSpPr>
            <p:nvPr/>
          </p:nvCxnSpPr>
          <p:spPr>
            <a:xfrm rot="5400000">
              <a:off x="2159732" y="728700"/>
              <a:ext cx="288032" cy="1944216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winkelte Verbindung 18"/>
            <p:cNvCxnSpPr>
              <a:stCxn id="6" idx="2"/>
              <a:endCxn id="8" idx="0"/>
            </p:cNvCxnSpPr>
            <p:nvPr/>
          </p:nvCxnSpPr>
          <p:spPr>
            <a:xfrm rot="16200000" flipH="1">
              <a:off x="4103948" y="728700"/>
              <a:ext cx="288032" cy="1944216"/>
            </a:xfrm>
            <a:prstGeom prst="bentConnector3">
              <a:avLst>
                <a:gd name="adj1" fmla="val 5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winkelte Verbindung 19"/>
            <p:cNvCxnSpPr>
              <a:stCxn id="13" idx="1"/>
              <a:endCxn id="16" idx="1"/>
            </p:cNvCxnSpPr>
            <p:nvPr/>
          </p:nvCxnSpPr>
          <p:spPr>
            <a:xfrm rot="10800000" flipV="1">
              <a:off x="2699792" y="2024844"/>
              <a:ext cx="12700" cy="61206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winkelte Verbindung 20"/>
            <p:cNvCxnSpPr>
              <a:stCxn id="13" idx="1"/>
              <a:endCxn id="15" idx="1"/>
            </p:cNvCxnSpPr>
            <p:nvPr/>
          </p:nvCxnSpPr>
          <p:spPr>
            <a:xfrm rot="10800000" flipV="1">
              <a:off x="2699792" y="2024844"/>
              <a:ext cx="12700" cy="97210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winkelte Verbindung 21"/>
            <p:cNvCxnSpPr>
              <a:stCxn id="13" idx="1"/>
              <a:endCxn id="14" idx="1"/>
            </p:cNvCxnSpPr>
            <p:nvPr/>
          </p:nvCxnSpPr>
          <p:spPr>
            <a:xfrm rot="10800000" flipV="1">
              <a:off x="2699792" y="2024844"/>
              <a:ext cx="12700" cy="133214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winkelte Verbindung 22"/>
            <p:cNvCxnSpPr>
              <a:stCxn id="7" idx="1"/>
              <a:endCxn id="9" idx="1"/>
            </p:cNvCxnSpPr>
            <p:nvPr/>
          </p:nvCxnSpPr>
          <p:spPr>
            <a:xfrm rot="10800000" flipV="1">
              <a:off x="755576" y="2024844"/>
              <a:ext cx="12700" cy="468052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winkelte Verbindung 23"/>
            <p:cNvCxnSpPr>
              <a:stCxn id="7" idx="1"/>
              <a:endCxn id="10" idx="1"/>
            </p:cNvCxnSpPr>
            <p:nvPr/>
          </p:nvCxnSpPr>
          <p:spPr>
            <a:xfrm rot="10800000" flipV="1">
              <a:off x="755576" y="2024844"/>
              <a:ext cx="12700" cy="2556284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winkelte Verbindung 24"/>
            <p:cNvCxnSpPr>
              <a:stCxn id="8" idx="1"/>
              <a:endCxn id="11" idx="1"/>
            </p:cNvCxnSpPr>
            <p:nvPr/>
          </p:nvCxnSpPr>
          <p:spPr>
            <a:xfrm rot="10800000" flipV="1">
              <a:off x="4644008" y="2024844"/>
              <a:ext cx="12700" cy="61206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winkelte Verbindung 25"/>
            <p:cNvCxnSpPr>
              <a:stCxn id="8" idx="1"/>
              <a:endCxn id="12" idx="1"/>
            </p:cNvCxnSpPr>
            <p:nvPr/>
          </p:nvCxnSpPr>
          <p:spPr>
            <a:xfrm rot="10800000" flipV="1">
              <a:off x="4644008" y="2024844"/>
              <a:ext cx="12700" cy="972108"/>
            </a:xfrm>
            <a:prstGeom prst="bentConnector3">
              <a:avLst>
                <a:gd name="adj1" fmla="val 1800000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echteck 26"/>
            <p:cNvSpPr/>
            <p:nvPr/>
          </p:nvSpPr>
          <p:spPr>
            <a:xfrm>
              <a:off x="899592" y="270892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8" name="Rechteck 27"/>
            <p:cNvSpPr/>
            <p:nvPr/>
          </p:nvSpPr>
          <p:spPr>
            <a:xfrm>
              <a:off x="899592" y="306896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29" name="Rechteck 28"/>
            <p:cNvSpPr/>
            <p:nvPr/>
          </p:nvSpPr>
          <p:spPr>
            <a:xfrm>
              <a:off x="899592" y="3429000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899592" y="3933056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1" name="Rechteck 30"/>
            <p:cNvSpPr/>
            <p:nvPr/>
          </p:nvSpPr>
          <p:spPr>
            <a:xfrm>
              <a:off x="899592" y="479715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2" name="Rechteck 31"/>
            <p:cNvSpPr/>
            <p:nvPr/>
          </p:nvSpPr>
          <p:spPr>
            <a:xfrm>
              <a:off x="899592" y="515719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3" name="Rechteck 32"/>
            <p:cNvSpPr/>
            <p:nvPr/>
          </p:nvSpPr>
          <p:spPr>
            <a:xfrm>
              <a:off x="899592" y="5517232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sp>
          <p:nvSpPr>
            <p:cNvPr id="34" name="Rechteck 33"/>
            <p:cNvSpPr/>
            <p:nvPr/>
          </p:nvSpPr>
          <p:spPr>
            <a:xfrm>
              <a:off x="899592" y="6021288"/>
              <a:ext cx="1152128" cy="28803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tx1"/>
                </a:solidFill>
              </a:endParaRPr>
            </a:p>
          </p:txBody>
        </p:sp>
        <p:cxnSp>
          <p:nvCxnSpPr>
            <p:cNvPr id="35" name="Gewinkelte Verbindung 34"/>
            <p:cNvCxnSpPr>
              <a:stCxn id="9" idx="1"/>
              <a:endCxn id="27" idx="1"/>
            </p:cNvCxnSpPr>
            <p:nvPr/>
          </p:nvCxnSpPr>
          <p:spPr>
            <a:xfrm rot="10800000" flipH="1" flipV="1">
              <a:off x="755576" y="2492896"/>
              <a:ext cx="144016" cy="360040"/>
            </a:xfrm>
            <a:prstGeom prst="bentConnector3">
              <a:avLst>
                <a:gd name="adj1" fmla="val -64668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winkelte Verbindung 35"/>
            <p:cNvCxnSpPr>
              <a:stCxn id="9" idx="1"/>
              <a:endCxn id="28" idx="1"/>
            </p:cNvCxnSpPr>
            <p:nvPr/>
          </p:nvCxnSpPr>
          <p:spPr>
            <a:xfrm rot="10800000" flipH="1" flipV="1">
              <a:off x="755576" y="2492896"/>
              <a:ext cx="144016" cy="720080"/>
            </a:xfrm>
            <a:prstGeom prst="bentConnector3">
              <a:avLst>
                <a:gd name="adj1" fmla="val -64669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winkelte Verbindung 36"/>
            <p:cNvCxnSpPr>
              <a:stCxn id="9" idx="1"/>
              <a:endCxn id="29" idx="1"/>
            </p:cNvCxnSpPr>
            <p:nvPr/>
          </p:nvCxnSpPr>
          <p:spPr>
            <a:xfrm rot="10800000" flipH="1" flipV="1">
              <a:off x="755576" y="2492896"/>
              <a:ext cx="144016" cy="1080120"/>
            </a:xfrm>
            <a:prstGeom prst="bentConnector3">
              <a:avLst>
                <a:gd name="adj1" fmla="val -64669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winkelte Verbindung 37"/>
            <p:cNvCxnSpPr>
              <a:stCxn id="9" idx="1"/>
              <a:endCxn id="30" idx="1"/>
            </p:cNvCxnSpPr>
            <p:nvPr/>
          </p:nvCxnSpPr>
          <p:spPr>
            <a:xfrm rot="10800000" flipH="1" flipV="1">
              <a:off x="755576" y="2492896"/>
              <a:ext cx="144016" cy="1584176"/>
            </a:xfrm>
            <a:prstGeom prst="bentConnector3">
              <a:avLst>
                <a:gd name="adj1" fmla="val -64669"/>
              </a:avLst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winkelte Verbindung 38"/>
            <p:cNvCxnSpPr>
              <a:stCxn id="10" idx="1"/>
              <a:endCxn id="31" idx="1"/>
            </p:cNvCxnSpPr>
            <p:nvPr/>
          </p:nvCxnSpPr>
          <p:spPr>
            <a:xfrm rot="10800000" flipH="1" flipV="1">
              <a:off x="755576" y="4581128"/>
              <a:ext cx="144016" cy="360040"/>
            </a:xfrm>
            <a:prstGeom prst="bentConnector3">
              <a:avLst>
                <a:gd name="adj1" fmla="val -61118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Form 88"/>
            <p:cNvCxnSpPr>
              <a:stCxn id="10" idx="1"/>
              <a:endCxn id="32" idx="1"/>
            </p:cNvCxnSpPr>
            <p:nvPr/>
          </p:nvCxnSpPr>
          <p:spPr>
            <a:xfrm rot="10800000" flipH="1" flipV="1">
              <a:off x="755576" y="4581128"/>
              <a:ext cx="144016" cy="720080"/>
            </a:xfrm>
            <a:prstGeom prst="bentConnector3">
              <a:avLst>
                <a:gd name="adj1" fmla="val -63853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Form 90"/>
            <p:cNvCxnSpPr>
              <a:stCxn id="10" idx="1"/>
              <a:endCxn id="33" idx="1"/>
            </p:cNvCxnSpPr>
            <p:nvPr/>
          </p:nvCxnSpPr>
          <p:spPr>
            <a:xfrm rot="10800000" flipH="1" flipV="1">
              <a:off x="755576" y="4581128"/>
              <a:ext cx="144016" cy="1080120"/>
            </a:xfrm>
            <a:prstGeom prst="bentConnector3">
              <a:avLst>
                <a:gd name="adj1" fmla="val -64435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winkelte Verbindung 41"/>
            <p:cNvCxnSpPr>
              <a:stCxn id="10" idx="1"/>
              <a:endCxn id="34" idx="1"/>
            </p:cNvCxnSpPr>
            <p:nvPr/>
          </p:nvCxnSpPr>
          <p:spPr>
            <a:xfrm rot="10800000" flipH="1" flipV="1">
              <a:off x="755576" y="4581128"/>
              <a:ext cx="144016" cy="1584176"/>
            </a:xfrm>
            <a:prstGeom prst="bentConnector3">
              <a:avLst>
                <a:gd name="adj1" fmla="val -64435"/>
              </a:avLst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09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860032" y="1844824"/>
            <a:ext cx="3505200" cy="2495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" name="Rechteck 43"/>
          <p:cNvSpPr/>
          <p:nvPr/>
        </p:nvSpPr>
        <p:spPr>
          <a:xfrm>
            <a:off x="4860032" y="5013176"/>
            <a:ext cx="3456384" cy="132343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000" dirty="0" smtClean="0"/>
              <a:t>Kjo figurë tregon pikën e kalimit kufitar në Ludwigsdorf mes Polonisë dhe Gjermanisë dhe jep një shembull të një praktike të mirë të një pike kufitare të përbashkët me objekte të përbashkëta (zyrat doganore, zona e inspektimit, vendet e parkimit, magazinat e përkohshme, etj) në çdo drejtim. Zyra e përbashkët doganore e Ludwigsdorf ndodhet e gjitha në territorin e Gjermanisë, përafërsisht 1 km larg kufirit Gjermani-Poloni.</a:t>
            </a:r>
            <a:endParaRPr lang="sq-AL" sz="1000" dirty="0"/>
          </a:p>
        </p:txBody>
      </p:sp>
      <p:sp>
        <p:nvSpPr>
          <p:cNvPr id="45" name="Rectangle 1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67544" y="1877119"/>
            <a:ext cx="3477518" cy="3524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18000" tIns="18000" rIns="18000" bIns="18000" anchor="ctr"/>
          <a:lstStyle/>
          <a:p>
            <a:pPr algn="ctr">
              <a:spcAft>
                <a:spcPts val="200"/>
              </a:spcAft>
              <a:buClr>
                <a:schemeClr val="tx1"/>
              </a:buClr>
            </a:pPr>
            <a:r>
              <a:rPr lang="en-US" sz="1400" b="1" dirty="0">
                <a:solidFill>
                  <a:srgbClr val="FFFFFF"/>
                </a:solidFill>
              </a:rPr>
              <a:t>Shpjegim</a:t>
            </a:r>
          </a:p>
        </p:txBody>
      </p:sp>
      <p:sp>
        <p:nvSpPr>
          <p:cNvPr id="46" name="Rectangle 1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67544" y="2223194"/>
            <a:ext cx="3477518" cy="401411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marL="182563" lvl="1" indent="-179388">
              <a:buClr>
                <a:schemeClr val="tx1"/>
              </a:buClr>
              <a:buFont typeface="Wingdings" pitchFamily="2" charset="2"/>
              <a:buChar char="§"/>
              <a:tabLst>
                <a:tab pos="357188" algn="l"/>
              </a:tabLst>
            </a:pPr>
            <a:r>
              <a:rPr lang="en-US" sz="1200" dirty="0" smtClean="0"/>
              <a:t>Standardet 3.4 (kontrollet e përbashkëta doganore) dhe 3.5 (zyrat doganore homologe) të </a:t>
            </a:r>
            <a:r>
              <a:rPr lang="en-US" sz="1200" dirty="0" smtClean="0">
                <a:hlinkClick r:id="rId7"/>
              </a:rPr>
              <a:t>Konventës së Kiotos, e rishikuar (RKC)</a:t>
            </a:r>
            <a:endParaRPr lang="sq-AL" sz="1200" dirty="0" smtClean="0"/>
          </a:p>
          <a:p>
            <a:pPr marL="182563" lvl="1" indent="-179388">
              <a:buClr>
                <a:schemeClr val="tx1"/>
              </a:buClr>
              <a:buFont typeface="Wingdings" pitchFamily="2" charset="2"/>
              <a:buChar char="§"/>
              <a:tabLst>
                <a:tab pos="357188" algn="l"/>
              </a:tabLst>
            </a:pPr>
            <a:r>
              <a:rPr lang="en-US" sz="1200" dirty="0" smtClean="0"/>
              <a:t>Standardi 3.3 i Konventës së Kiotos, e rishikuar (koordinimi i </a:t>
            </a:r>
            <a:r>
              <a:rPr lang="en-US" sz="1200" dirty="0" smtClean="0">
                <a:hlinkClick r:id="rId8"/>
              </a:rPr>
              <a:t>orëve të punës</a:t>
            </a:r>
            <a:r>
              <a:rPr lang="en-US" sz="1200" dirty="0" smtClean="0"/>
              <a:t> dhe kompetencat përkatëse)</a:t>
            </a:r>
          </a:p>
          <a:p>
            <a:pPr marL="182563" lvl="1" indent="-179388">
              <a:buClr>
                <a:schemeClr val="tx1"/>
              </a:buClr>
              <a:buFont typeface="Wingdings" pitchFamily="2" charset="2"/>
              <a:buChar char="§"/>
              <a:tabLst>
                <a:tab pos="357188" algn="l"/>
              </a:tabLst>
            </a:pPr>
            <a:r>
              <a:rPr lang="en-US" sz="1200" dirty="0" smtClean="0"/>
              <a:t>Koordinimi i strukturës fizike të kalimit kufitar, p.sh. numri i korsive, korsitë e transitit, vendet e parkimit dhe objekte të tjera që lidhen me to (shih nenin 6 të Shtojcës 8 të </a:t>
            </a:r>
            <a:r>
              <a:rPr lang="en-US" sz="1200" dirty="0" smtClean="0">
                <a:hlinkClick r:id="rId9"/>
              </a:rPr>
              <a:t>Konventës Ndërkombëtare për Harmonizimin e Kontrollit të Mallrave në Kufi</a:t>
            </a:r>
            <a:r>
              <a:rPr lang="en-US" sz="1200" dirty="0" smtClean="0"/>
              <a:t>)</a:t>
            </a:r>
          </a:p>
          <a:p>
            <a:pPr marL="182563" lvl="1" indent="-179388">
              <a:buClr>
                <a:schemeClr val="tx1"/>
              </a:buClr>
              <a:buFont typeface="Wingdings" pitchFamily="2" charset="2"/>
              <a:buChar char="§"/>
              <a:tabLst>
                <a:tab pos="357188" algn="l"/>
              </a:tabLst>
            </a:pPr>
            <a:r>
              <a:rPr lang="en-US" sz="1200" dirty="0" smtClean="0"/>
              <a:t>Marrëveshje bilaterale ose traktat:</a:t>
            </a:r>
          </a:p>
          <a:p>
            <a:pPr marL="639763" lvl="2" indent="-179388">
              <a:buClr>
                <a:schemeClr val="tx1"/>
              </a:buClr>
              <a:buFont typeface="Wingdings" pitchFamily="2" charset="2"/>
              <a:buChar char="§"/>
              <a:tabLst>
                <a:tab pos="357188" algn="l"/>
              </a:tabLst>
            </a:pPr>
            <a:r>
              <a:rPr lang="en-US" sz="1200" dirty="0" smtClean="0"/>
              <a:t>baza ligjore për angazhimet buxhetore për të krijuar dhe ruajtur objektet e përbashkëta dhe ndarjen e kostove,</a:t>
            </a:r>
          </a:p>
          <a:p>
            <a:pPr marL="639763" lvl="2" indent="-179388">
              <a:buClr>
                <a:schemeClr val="tx1"/>
              </a:buClr>
              <a:buFont typeface="Wingdings" pitchFamily="2" charset="2"/>
              <a:buChar char="§"/>
              <a:tabLst>
                <a:tab pos="357188" algn="l"/>
              </a:tabLst>
            </a:pPr>
            <a:r>
              <a:rPr lang="en-US" sz="1200" dirty="0" smtClean="0"/>
              <a:t>përcaktimi i vijës kufitare,</a:t>
            </a:r>
          </a:p>
          <a:p>
            <a:pPr marL="639763" lvl="2" indent="-179388">
              <a:buClr>
                <a:schemeClr val="tx1"/>
              </a:buClr>
              <a:buFont typeface="Wingdings" pitchFamily="2" charset="2"/>
              <a:buChar char="§"/>
              <a:tabLst>
                <a:tab pos="357188" algn="l"/>
              </a:tabLst>
            </a:pPr>
            <a:r>
              <a:rPr lang="en-US" sz="1200" dirty="0" smtClean="0"/>
              <a:t>Kompetencat ligjore të masave për zbatimin e ligjit (p.sh. gjobat, konfiskimet, arrestimet) në territoret e shteteve të tjera</a:t>
            </a:r>
          </a:p>
          <a:p>
            <a:endParaRPr lang="sq-AL" sz="1200" dirty="0" smtClean="0"/>
          </a:p>
        </p:txBody>
      </p:sp>
      <p:sp>
        <p:nvSpPr>
          <p:cNvPr id="47" name="Textfeld 46"/>
          <p:cNvSpPr txBox="1"/>
          <p:nvPr/>
        </p:nvSpPr>
        <p:spPr>
          <a:xfrm>
            <a:off x="2195736" y="1340768"/>
            <a:ext cx="4427815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Zona e kufirit të përbashkët mes Gjermanisë dhe Polonisë</a:t>
            </a:r>
            <a:endParaRPr lang="sq-AL" sz="1200" b="1" dirty="0"/>
          </a:p>
        </p:txBody>
      </p:sp>
      <p:sp>
        <p:nvSpPr>
          <p:cNvPr id="48" name="AutoShape 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2807804" y="3897052"/>
            <a:ext cx="3240360" cy="288032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45720" rIns="45720" anchor="ctr"/>
          <a:lstStyle/>
          <a:p>
            <a:endParaRPr lang="en-US" dirty="0"/>
          </a:p>
        </p:txBody>
      </p:sp>
      <p:sp>
        <p:nvSpPr>
          <p:cNvPr id="49" name="AutoShape 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508104" y="4581128"/>
            <a:ext cx="2238896" cy="216024"/>
          </a:xfrm>
          <a:prstGeom prst="triangle">
            <a:avLst>
              <a:gd name="adj" fmla="val 50000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45720" rIns="45720" anchor="ctr"/>
          <a:lstStyle/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sz="2600" dirty="0" smtClean="0"/>
              <a:t>Pikat e referimit përmes ekspozimit të kapaciteteve për përmirësimin e lehtësimit të tregtisë</a:t>
            </a:r>
            <a:endParaRPr lang="sq-AL" sz="260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B502781-F299-4122-9748-0155205CA53E}" type="slidenum">
              <a:rPr lang="it-IT" smtClean="0"/>
              <a:pPr>
                <a:defRPr/>
              </a:pPr>
              <a:t>25</a:t>
            </a:fld>
            <a:endParaRPr lang="sq-AL"/>
          </a:p>
        </p:txBody>
      </p:sp>
      <p:graphicFrame>
        <p:nvGraphicFramePr>
          <p:cNvPr id="4" name="Group 7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3392206"/>
              </p:ext>
            </p:extLst>
          </p:nvPr>
        </p:nvGraphicFramePr>
        <p:xfrm>
          <a:off x="395536" y="1772816"/>
          <a:ext cx="7992892" cy="4442832"/>
        </p:xfrm>
        <a:graphic>
          <a:graphicData uri="http://schemas.openxmlformats.org/drawingml/2006/table">
            <a:tbl>
              <a:tblPr/>
              <a:tblGrid>
                <a:gridCol w="1850206"/>
                <a:gridCol w="707899"/>
                <a:gridCol w="707899"/>
                <a:gridCol w="293623"/>
                <a:gridCol w="293623"/>
                <a:gridCol w="293623"/>
                <a:gridCol w="293623"/>
                <a:gridCol w="296033"/>
                <a:gridCol w="296033"/>
                <a:gridCol w="296033"/>
                <a:gridCol w="296033"/>
                <a:gridCol w="592066"/>
                <a:gridCol w="592066"/>
                <a:gridCol w="592066"/>
                <a:gridCol w="592066"/>
              </a:tblGrid>
              <a:tr h="38417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5720" marR="45720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B - Tregtia përmes kufijve   </a:t>
                      </a:r>
                    </a:p>
                  </a:txBody>
                  <a:tcPr marL="36576" marR="36576" marT="36576" marB="3657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Numri i dokumenteve</a:t>
                      </a:r>
                    </a:p>
                  </a:txBody>
                  <a:tcPr marL="36576" marR="36576" marT="36576" marB="3657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Numri i ditëve</a:t>
                      </a:r>
                    </a:p>
                  </a:txBody>
                  <a:tcPr marL="36576" marR="36576" marT="36576" marB="3657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huma e mbajtur nga GEA në kufi (%)</a:t>
                      </a:r>
                    </a:p>
                  </a:txBody>
                  <a:tcPr marL="36576" marR="36576" marT="36576" marB="3657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LPI</a:t>
                      </a:r>
                    </a:p>
                  </a:txBody>
                  <a:tcPr marL="36576" marR="36576" marT="36576" marB="3657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1988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6576" marR="36576" marT="36576" marB="36576" horzOverflow="overflow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013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011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013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011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013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011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012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011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012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010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11988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36576" marR="36576" marT="36576" marB="36576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EK</a:t>
                      </a:r>
                      <a:r>
                        <a:rPr kumimoji="0" lang="sq-AL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</a:t>
                      </a: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.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IMP.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E</a:t>
                      </a:r>
                      <a:r>
                        <a:rPr kumimoji="0" lang="sq-AL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KS</a:t>
                      </a: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.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IMP.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E</a:t>
                      </a:r>
                      <a:r>
                        <a:rPr kumimoji="0" lang="sq-AL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KS</a:t>
                      </a: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.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IMP.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E</a:t>
                      </a:r>
                      <a:r>
                        <a:rPr kumimoji="0" lang="sq-AL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KS</a:t>
                      </a: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.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IMP.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11988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hqipëria</a:t>
                      </a:r>
                    </a:p>
                  </a:txBody>
                  <a:tcPr marL="36576" marR="36576" marT="36576" marB="3657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9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5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9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9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8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9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8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6,51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8,34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8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19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0273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zerbajxhani</a:t>
                      </a:r>
                    </a:p>
                  </a:txBody>
                  <a:tcPr marL="36576" marR="36576" marT="36576" marB="3657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69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77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9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4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8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8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3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6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8,87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6,99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16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9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5759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Bosnjë Hercegovina</a:t>
                      </a:r>
                    </a:p>
                  </a:txBody>
                  <a:tcPr marL="36576" marR="36576" marT="36576" marB="3657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3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1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9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5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5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3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6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6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7,26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8,06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55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7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24441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Kroacia</a:t>
                      </a:r>
                    </a:p>
                  </a:txBody>
                  <a:tcPr marL="36576" marR="36576" marT="36576" marB="3657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5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98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0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6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0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6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54,05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8,32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2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4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0729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Greqia</a:t>
                      </a:r>
                    </a:p>
                  </a:txBody>
                  <a:tcPr marL="36576" marR="36576" marT="36576" marB="3657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2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4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5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5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9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5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0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5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8,85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7,70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9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54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talia</a:t>
                      </a:r>
                    </a:p>
                  </a:txBody>
                  <a:tcPr marL="36576" marR="36576" marT="36576" marB="3657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55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59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9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8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0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8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3,03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3,38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4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2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li i Zi</a:t>
                      </a:r>
                    </a:p>
                  </a:txBody>
                  <a:tcPr marL="36576" marR="36576" marT="36576" marB="3657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2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4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4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4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4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4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58,65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3,28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0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1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2785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Rusia</a:t>
                      </a:r>
                    </a:p>
                  </a:txBody>
                  <a:tcPr marL="36576" marR="36576" marT="36576" marB="3657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62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62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1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3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1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6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6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6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9,13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2,35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95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94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1070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erbia</a:t>
                      </a:r>
                    </a:p>
                  </a:txBody>
                  <a:tcPr marL="36576" marR="36576" marT="36576" marB="3657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94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4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4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4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54,61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0,99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5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3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uedia</a:t>
                      </a:r>
                    </a:p>
                  </a:txBody>
                  <a:tcPr marL="36576" marR="36576" marT="36576" marB="3657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,76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,38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3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xhikistani</a:t>
                      </a:r>
                    </a:p>
                  </a:txBody>
                  <a:tcPr marL="36576" marR="36576" marT="36576" marB="3657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84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78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1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1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9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1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2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2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3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6,82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9,37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36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31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3127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urqia</a:t>
                      </a:r>
                    </a:p>
                  </a:txBody>
                  <a:tcPr marL="36576" marR="36576" marT="36576" marB="3657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8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6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3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4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4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5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1,63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50,07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7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9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1412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Ukraina</a:t>
                      </a:r>
                    </a:p>
                  </a:txBody>
                  <a:tcPr marL="36576" marR="36576" marT="36576" marB="3657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45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39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0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3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1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6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6,99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7,30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6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2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1412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Uzbekistan</a:t>
                      </a:r>
                    </a:p>
                  </a:txBody>
                  <a:tcPr marL="36576" marR="36576" marT="36576" marB="3657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CDCD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85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69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3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4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9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0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99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1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92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8,86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,37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17</a:t>
                      </a:r>
                    </a:p>
                  </a:txBody>
                  <a:tcPr marL="72000" marR="18000" marT="36000" marB="3600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8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5" name="Picture 33" descr="schweden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8" cstate="print"/>
          <a:srcRect/>
          <a:stretch>
            <a:fillRect/>
          </a:stretch>
        </p:blipFill>
        <p:spPr bwMode="gray">
          <a:xfrm>
            <a:off x="1474279" y="4845349"/>
            <a:ext cx="221192" cy="14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  <p:pic>
        <p:nvPicPr>
          <p:cNvPr id="6" name="Picture 22" descr="Aserbaidschan-neu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1403648" y="3238159"/>
            <a:ext cx="227768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7" name="Picture 23" descr="Russland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1428669" y="4611921"/>
            <a:ext cx="227768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8" name="Picture 29" descr="Tadschikistan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1452420" y="5304092"/>
            <a:ext cx="227768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9" name="Picture 7" descr="Usbekistan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1453689" y="6021288"/>
            <a:ext cx="227768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10" name="Picture 19" descr="italien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1428669" y="4140887"/>
            <a:ext cx="227768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11" name="Picture 20" descr="albanien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1403648" y="2998508"/>
            <a:ext cx="227768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12" name="Picture 23" descr="bosnien-und-hezegowina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1773672" y="3468927"/>
            <a:ext cx="227768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13" name="Picture 30" descr="griechenland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1428669" y="3963605"/>
            <a:ext cx="227768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14" name="Picture 5" descr="kroatien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1428669" y="3675605"/>
            <a:ext cx="227768" cy="14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</p:pic>
      <p:pic>
        <p:nvPicPr>
          <p:cNvPr id="15" name="Picture 31" descr="montenegro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1452420" y="4428887"/>
            <a:ext cx="227768" cy="144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16" name="Picture 21" descr="türkei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1441815" y="5544433"/>
            <a:ext cx="227768" cy="14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</p:pic>
      <p:pic>
        <p:nvPicPr>
          <p:cNvPr id="17" name="Picture 23" descr="ukraine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1441815" y="5762677"/>
            <a:ext cx="227768" cy="14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</p:pic>
      <p:pic>
        <p:nvPicPr>
          <p:cNvPr id="18" name="Picture 31" descr="serbien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1461786" y="5126810"/>
            <a:ext cx="227768" cy="1440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</p:pic>
      <p:sp>
        <p:nvSpPr>
          <p:cNvPr id="19" name="Textfeld 18"/>
          <p:cNvSpPr txBox="1"/>
          <p:nvPr/>
        </p:nvSpPr>
        <p:spPr>
          <a:xfrm>
            <a:off x="387420" y="6381328"/>
            <a:ext cx="298030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/>
              <a:t>Burimet: Banka Botërore, GEA, Analiza e konsulencës nga Dietmar Jost</a:t>
            </a:r>
            <a:endParaRPr lang="sq-AL" sz="800" dirty="0"/>
          </a:p>
        </p:txBody>
      </p:sp>
      <p:sp>
        <p:nvSpPr>
          <p:cNvPr id="20" name="Text Box 199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2843808" y="1412776"/>
            <a:ext cx="377667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400" b="1" dirty="0"/>
              <a:t>Pikat e referimit të nivelit të lartë dhe indeksi i renditjes</a:t>
            </a:r>
            <a:endParaRPr lang="sq-AL" sz="14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Sottotitolo 8"/>
          <p:cNvSpPr>
            <a:spLocks noGrp="1"/>
          </p:cNvSpPr>
          <p:nvPr>
            <p:ph type="subTitle" idx="1"/>
          </p:nvPr>
        </p:nvSpPr>
        <p:spPr>
          <a:xfrm>
            <a:off x="539552" y="2420888"/>
            <a:ext cx="7704856" cy="2304256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spcBef>
                <a:spcPct val="0"/>
              </a:spcBef>
              <a:buClr>
                <a:schemeClr val="bg1"/>
              </a:buClr>
              <a:buFont typeface="+mj-lt"/>
              <a:buAutoNum type="arabicPeriod" startAt="4"/>
            </a:pPr>
            <a:r>
              <a:rPr lang="en-US" sz="4000" b="1" dirty="0" smtClean="0"/>
              <a:t>Udhëzuesi për Zbatimin e Lehtësimit të Tregtisë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033696B-4224-4D74-92D2-B2221F4E303A}" type="slidenum">
              <a:rPr lang="it-IT"/>
              <a:pPr>
                <a:defRPr/>
              </a:pPr>
              <a:t>26</a:t>
            </a:fld>
            <a:endParaRPr lang="sq-AL"/>
          </a:p>
        </p:txBody>
      </p:sp>
    </p:spTree>
    <p:extLst>
      <p:ext uri="{BB962C8B-B14F-4D97-AF65-F5344CB8AC3E}">
        <p14:creationId xmlns:p14="http://schemas.microsoft.com/office/powerpoint/2010/main" val="2867567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BAEAE8D-DC75-490C-A50B-A82039E12825}" type="slidenum">
              <a:rPr lang="it-IT"/>
              <a:pPr>
                <a:defRPr/>
              </a:pPr>
              <a:t>27</a:t>
            </a:fld>
            <a:endParaRPr lang="sq-AL"/>
          </a:p>
        </p:txBody>
      </p:sp>
      <p:sp>
        <p:nvSpPr>
          <p:cNvPr id="24580" name="Subtitle 1"/>
          <p:cNvSpPr txBox="1">
            <a:spLocks/>
          </p:cNvSpPr>
          <p:nvPr/>
        </p:nvSpPr>
        <p:spPr bwMode="auto">
          <a:xfrm>
            <a:off x="467544" y="1556792"/>
            <a:ext cx="8352928" cy="273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20000"/>
              </a:spcBef>
              <a:buClr>
                <a:srgbClr val="E46C0A"/>
              </a:buClr>
              <a:buFont typeface="Arial" charset="0"/>
              <a:buNone/>
            </a:pPr>
            <a:r>
              <a:rPr lang="fr-CH" sz="2400" dirty="0" smtClean="0">
                <a:solidFill>
                  <a:schemeClr val="bg1"/>
                </a:solidFill>
                <a:latin typeface="TitilliumText14L"/>
              </a:rPr>
              <a:t>Për më shumë informacion shih </a:t>
            </a:r>
          </a:p>
          <a:p>
            <a:pPr algn="ctr" eaLnBrk="1" hangingPunct="1">
              <a:spcBef>
                <a:spcPct val="20000"/>
              </a:spcBef>
              <a:buClr>
                <a:srgbClr val="E46C0A"/>
              </a:buClr>
              <a:buFont typeface="Arial" charset="0"/>
              <a:buNone/>
            </a:pPr>
            <a:r>
              <a:rPr lang="fr-CH" sz="2800" b="1" dirty="0" smtClean="0">
                <a:solidFill>
                  <a:schemeClr val="bg1"/>
                </a:solidFill>
                <a:latin typeface="TitilliumText14L"/>
              </a:rPr>
              <a:t>«Reduktimi i vonesave në kalimet kufitare – Itinerari» </a:t>
            </a:r>
          </a:p>
          <a:p>
            <a:pPr algn="ctr" eaLnBrk="1" hangingPunct="1">
              <a:spcBef>
                <a:spcPct val="20000"/>
              </a:spcBef>
              <a:buClr>
                <a:srgbClr val="E46C0A"/>
              </a:buClr>
              <a:buFont typeface="Arial" charset="0"/>
              <a:buNone/>
            </a:pPr>
            <a:r>
              <a:rPr lang="fr-CH" sz="2400" dirty="0" smtClean="0">
                <a:solidFill>
                  <a:schemeClr val="bg1"/>
                </a:solidFill>
                <a:latin typeface="TitilliumText14L"/>
              </a:rPr>
              <a:t>e gjeni në: </a:t>
            </a:r>
          </a:p>
          <a:p>
            <a:pPr algn="ctr" eaLnBrk="1" hangingPunct="1">
              <a:spcBef>
                <a:spcPct val="20000"/>
              </a:spcBef>
              <a:buClr>
                <a:srgbClr val="E46C0A"/>
              </a:buClr>
              <a:buFont typeface="Arial" charset="0"/>
              <a:buNone/>
            </a:pPr>
            <a:r>
              <a:rPr lang="fr-CH" sz="2400" dirty="0" smtClean="0">
                <a:solidFill>
                  <a:schemeClr val="bg1"/>
                </a:solidFill>
                <a:latin typeface="TitilliumText14L"/>
                <a:hlinkClick r:id="rId2"/>
              </a:rPr>
              <a:t>http://tfig.unece.org/contents/borde-crossing-delays.htm</a:t>
            </a:r>
            <a:endParaRPr lang="sq-AL" sz="2400" dirty="0" smtClean="0">
              <a:solidFill>
                <a:schemeClr val="bg1"/>
              </a:solidFill>
              <a:latin typeface="TitilliumText14L"/>
            </a:endParaRPr>
          </a:p>
          <a:p>
            <a:pPr algn="ctr" eaLnBrk="1" hangingPunct="1">
              <a:spcBef>
                <a:spcPct val="20000"/>
              </a:spcBef>
              <a:buClr>
                <a:srgbClr val="E46C0A"/>
              </a:buClr>
              <a:buFont typeface="Arial" charset="0"/>
              <a:buNone/>
            </a:pPr>
            <a:endParaRPr lang="sq-AL" sz="2400" dirty="0" smtClean="0">
              <a:solidFill>
                <a:schemeClr val="bg1"/>
              </a:solidFill>
              <a:latin typeface="TitilliumText14L"/>
            </a:endParaRPr>
          </a:p>
          <a:p>
            <a:pPr algn="ctr" eaLnBrk="1" hangingPunct="1">
              <a:spcBef>
                <a:spcPct val="20000"/>
              </a:spcBef>
              <a:buClr>
                <a:srgbClr val="E46C0A"/>
              </a:buClr>
              <a:buFont typeface="Arial" charset="0"/>
              <a:buNone/>
            </a:pPr>
            <a:r>
              <a:rPr lang="fr-CH" sz="2400" dirty="0">
                <a:solidFill>
                  <a:schemeClr val="bg1"/>
                </a:solidFill>
                <a:latin typeface="TitilliumText14L"/>
              </a:rPr>
              <a:t>Lidhja:</a:t>
            </a:r>
            <a:endParaRPr lang="sq-AL" sz="2400" dirty="0">
              <a:solidFill>
                <a:schemeClr val="bg1"/>
              </a:solidFill>
              <a:latin typeface="TitilliumText14L"/>
            </a:endParaRPr>
          </a:p>
        </p:txBody>
      </p:sp>
      <p:pic>
        <p:nvPicPr>
          <p:cNvPr id="2" name="Picture 2" descr="http://tfig.unece.org/images/icons/ico-Itineraries-rbd.pn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4509120"/>
            <a:ext cx="800100" cy="800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4946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smtClean="0"/>
              <a:t>Hapat drejt reduktimit të vonesave në kufi</a:t>
            </a:r>
            <a:endParaRPr lang="sq-AL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3284984"/>
            <a:ext cx="8229600" cy="2376265"/>
          </a:xfrm>
        </p:spPr>
        <p:txBody>
          <a:bodyPr/>
          <a:lstStyle/>
          <a:p>
            <a:r>
              <a:rPr lang="en-US" sz="1800" dirty="0" smtClean="0"/>
              <a:t>Itineraret i udhëzojnë përdoruesit përmes sasisë së informacionit që përmban Udhëzuesi për Zbatimin e Lehtësimit të Tregtisë</a:t>
            </a:r>
          </a:p>
          <a:p>
            <a:r>
              <a:rPr lang="en-US" sz="1800" dirty="0" smtClean="0"/>
              <a:t>Itinerari bën një kombinim të masave të LT specifike për fushën përgjatë objektivit të dedikuar të LT</a:t>
            </a:r>
          </a:p>
          <a:p>
            <a:r>
              <a:rPr lang="en-US" sz="1800" dirty="0" smtClean="0"/>
              <a:t>Itinerari nuk ka natyrë shteruese, por është thjesht një përmbledhje e disa shembujve</a:t>
            </a:r>
          </a:p>
          <a:p>
            <a:r>
              <a:rPr lang="en-US" sz="1800" dirty="0" smtClean="0"/>
              <a:t>Mund të shtoni ose t'i anashkaloni masat e LT</a:t>
            </a:r>
          </a:p>
          <a:p>
            <a:r>
              <a:rPr lang="en-US" sz="1800" dirty="0" smtClean="0"/>
              <a:t>Secila masë në vetvete mund të zvogëlojë vonesat në kufi</a:t>
            </a:r>
            <a:endParaRPr lang="sq-AL" sz="1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42D9F6-4E0E-41D8-BC1F-BF1CE87366CF}" type="slidenum">
              <a:rPr lang="it-IT" smtClean="0"/>
              <a:pPr>
                <a:defRPr/>
              </a:pPr>
              <a:t>28</a:t>
            </a:fld>
            <a:endParaRPr lang="sq-AL"/>
          </a:p>
        </p:txBody>
      </p:sp>
      <p:pic>
        <p:nvPicPr>
          <p:cNvPr id="5" name="Grafik 4" descr="map-rdbc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71600" y="1510199"/>
            <a:ext cx="7200800" cy="1270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287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/>
          <p:cNvSpPr>
            <a:spLocks noGrp="1"/>
          </p:cNvSpPr>
          <p:nvPr>
            <p:ph type="title"/>
          </p:nvPr>
        </p:nvSpPr>
        <p:spPr>
          <a:xfrm>
            <a:off x="457200" y="421756"/>
            <a:ext cx="8229600" cy="576064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it-IT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Ushtrim</a:t>
            </a:r>
            <a:endParaRPr lang="sq-AL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" name="Segnaposto numero diapositiva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38D6BC-23C4-4FD6-9AA0-9C403495FAFE}" type="slidenum">
              <a:rPr lang="it-IT"/>
              <a:pPr>
                <a:defRPr/>
              </a:pPr>
              <a:t>29</a:t>
            </a:fld>
            <a:endParaRPr lang="sq-AL"/>
          </a:p>
        </p:txBody>
      </p:sp>
      <p:pic>
        <p:nvPicPr>
          <p:cNvPr id="9" name="Picture 187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55576" y="1268760"/>
            <a:ext cx="934155" cy="15058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10" name="Picture 192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259632" y="4582045"/>
            <a:ext cx="1007591" cy="5269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13" name="Picture 192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835696" y="4077989"/>
            <a:ext cx="1007591" cy="5269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14" name="Picture 192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83568" y="4077989"/>
            <a:ext cx="1007591" cy="5269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15" name="Picture 193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5880576" y="4293096"/>
            <a:ext cx="2430284" cy="7500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sp>
        <p:nvSpPr>
          <p:cNvPr id="16" name="Textfeld 15"/>
          <p:cNvSpPr txBox="1"/>
          <p:nvPr/>
        </p:nvSpPr>
        <p:spPr>
          <a:xfrm>
            <a:off x="323528" y="2852936"/>
            <a:ext cx="17876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1. Hyrje</a:t>
            </a:r>
            <a:endParaRPr lang="sq-AL" b="1" dirty="0"/>
          </a:p>
        </p:txBody>
      </p:sp>
      <p:sp>
        <p:nvSpPr>
          <p:cNvPr id="17" name="Textfeld 16"/>
          <p:cNvSpPr txBox="1"/>
          <p:nvPr/>
        </p:nvSpPr>
        <p:spPr>
          <a:xfrm>
            <a:off x="739253" y="5180999"/>
            <a:ext cx="297549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smtClean="0"/>
              <a:t>3. Grupi i punës – Zgjidhjet:</a:t>
            </a:r>
            <a:r>
              <a:rPr sz="1200" dirty="0"/>
              <a:t/>
            </a:r>
            <a:br>
              <a:rPr sz="1200" dirty="0"/>
            </a:br>
            <a:r>
              <a:rPr lang="en-US" sz="1200" b="1" dirty="0" smtClean="0"/>
              <a:t>Masat e përgjithshme të zhdoganimit, </a:t>
            </a:r>
            <a:endParaRPr lang="sq-AL" sz="1200" b="1" dirty="0" smtClean="0"/>
          </a:p>
          <a:p>
            <a:pPr algn="ctr"/>
            <a:r>
              <a:rPr lang="en-US" sz="1200" b="1" dirty="0" err="1" smtClean="0"/>
              <a:t>Masat</a:t>
            </a:r>
            <a:r>
              <a:rPr lang="en-US" sz="1200" b="1" dirty="0" smtClean="0"/>
              <a:t> që lidhen me procesin,</a:t>
            </a:r>
          </a:p>
          <a:p>
            <a:pPr algn="ctr"/>
            <a:r>
              <a:rPr lang="en-US" sz="1200" b="1" dirty="0" smtClean="0"/>
              <a:t>Masat për menaxhimin ndërkufitar</a:t>
            </a:r>
            <a:endParaRPr lang="sq-AL" sz="1200" b="1" dirty="0"/>
          </a:p>
        </p:txBody>
      </p:sp>
      <p:sp>
        <p:nvSpPr>
          <p:cNvPr id="18" name="Textfeld 17"/>
          <p:cNvSpPr txBox="1"/>
          <p:nvPr/>
        </p:nvSpPr>
        <p:spPr>
          <a:xfrm>
            <a:off x="5181882" y="5157192"/>
            <a:ext cx="39052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 smtClean="0"/>
              <a:t>4. Seanca </a:t>
            </a:r>
            <a:r>
              <a:rPr lang="en-US" sz="1400" b="1" dirty="0" err="1" smtClean="0"/>
              <a:t>përmbledhëse</a:t>
            </a:r>
            <a:r>
              <a:rPr lang="en-US" sz="1400" b="1" dirty="0" smtClean="0"/>
              <a:t> – </a:t>
            </a:r>
            <a:endParaRPr lang="sq-AL" sz="1400" b="1" dirty="0" smtClean="0"/>
          </a:p>
          <a:p>
            <a:pPr algn="ctr"/>
            <a:r>
              <a:rPr lang="en-US" sz="1400" b="1" dirty="0" err="1" smtClean="0"/>
              <a:t>Prezantimi</a:t>
            </a:r>
            <a:r>
              <a:rPr lang="en-US" sz="1400" b="1" dirty="0" smtClean="0"/>
              <a:t> i rezultateve të grupit; Diskutime</a:t>
            </a:r>
            <a:endParaRPr lang="sq-AL" sz="1400" b="1" dirty="0"/>
          </a:p>
        </p:txBody>
      </p:sp>
      <p:sp>
        <p:nvSpPr>
          <p:cNvPr id="19" name="Pfeil nach rechts 18"/>
          <p:cNvSpPr/>
          <p:nvPr/>
        </p:nvSpPr>
        <p:spPr>
          <a:xfrm>
            <a:off x="3275856" y="1772816"/>
            <a:ext cx="1368152" cy="504056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Pfeil nach rechts 19"/>
          <p:cNvSpPr/>
          <p:nvPr/>
        </p:nvSpPr>
        <p:spPr>
          <a:xfrm rot="8931479">
            <a:off x="3028801" y="3231417"/>
            <a:ext cx="3036676" cy="504056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1" name="Picture 193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300192" y="1124744"/>
            <a:ext cx="2088232" cy="6444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24" name="Picture 187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827507" y="1916832"/>
            <a:ext cx="488909" cy="788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25" name="Picture 187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107427" y="1916832"/>
            <a:ext cx="488909" cy="788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26" name="Picture 187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87347" y="1916832"/>
            <a:ext cx="488909" cy="7881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sp>
        <p:nvSpPr>
          <p:cNvPr id="27" name="Pfeil nach rechts 26"/>
          <p:cNvSpPr/>
          <p:nvPr/>
        </p:nvSpPr>
        <p:spPr>
          <a:xfrm>
            <a:off x="3779912" y="4869160"/>
            <a:ext cx="1440160" cy="504056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Textfeld 27"/>
          <p:cNvSpPr txBox="1"/>
          <p:nvPr/>
        </p:nvSpPr>
        <p:spPr>
          <a:xfrm>
            <a:off x="5301155" y="2924944"/>
            <a:ext cx="388279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 smtClean="0"/>
              <a:t>2. Seanca përmbledhëse – </a:t>
            </a:r>
            <a:r>
              <a:rPr sz="1400" dirty="0"/>
              <a:t/>
            </a:r>
            <a:br>
              <a:rPr sz="1400" dirty="0"/>
            </a:br>
            <a:r>
              <a:rPr lang="en-US" sz="1400" b="1" dirty="0" smtClean="0"/>
              <a:t>Ushtrim për analizën e shkakut të zanafillës</a:t>
            </a:r>
            <a:endParaRPr lang="sq-AL" sz="1400" b="1" dirty="0"/>
          </a:p>
        </p:txBody>
      </p:sp>
    </p:spTree>
    <p:extLst>
      <p:ext uri="{BB962C8B-B14F-4D97-AF65-F5344CB8AC3E}">
        <p14:creationId xmlns:p14="http://schemas.microsoft.com/office/powerpoint/2010/main" val="3075637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Sottotitolo 8"/>
          <p:cNvSpPr>
            <a:spLocks noGrp="1"/>
          </p:cNvSpPr>
          <p:nvPr>
            <p:ph type="subTitle" idx="1"/>
          </p:nvPr>
        </p:nvSpPr>
        <p:spPr>
          <a:xfrm>
            <a:off x="683568" y="1700808"/>
            <a:ext cx="7992888" cy="2448272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sz="4400" b="1" dirty="0" smtClean="0"/>
              <a:t>1. Përshkrim i përgjithshëm i vonesave në kufi dhe zgjidhjeve për LT</a:t>
            </a:r>
            <a:endParaRPr lang="sq-AL" sz="4400" b="1" dirty="0">
              <a:ea typeface="+mj-ea"/>
              <a:cs typeface="+mj-cs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033696B-4224-4D74-92D2-B2221F4E303A}" type="slidenum">
              <a:rPr lang="it-IT"/>
              <a:pPr>
                <a:defRPr/>
              </a:pPr>
              <a:t>3</a:t>
            </a:fld>
            <a:endParaRPr lang="sq-AL"/>
          </a:p>
        </p:txBody>
      </p:sp>
    </p:spTree>
    <p:extLst>
      <p:ext uri="{BB962C8B-B14F-4D97-AF65-F5344CB8AC3E}">
        <p14:creationId xmlns:p14="http://schemas.microsoft.com/office/powerpoint/2010/main" val="1267327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smtClean="0"/>
              <a:t>Pyetje udhëzuese</a:t>
            </a:r>
            <a:endParaRPr lang="sq-AL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989063"/>
            <a:ext cx="8229600" cy="3384153"/>
          </a:xfrm>
        </p:spPr>
        <p:txBody>
          <a:bodyPr/>
          <a:lstStyle/>
          <a:p>
            <a:r>
              <a:rPr dirty="0" smtClean="0"/>
              <a:t>Për çfarë flet tema/fusha?</a:t>
            </a:r>
          </a:p>
          <a:p>
            <a:r>
              <a:rPr dirty="0" smtClean="0"/>
              <a:t>Cilat masa mund të përdoren përkatësisht si zgjidhje për shkaqet e identifikuara?</a:t>
            </a:r>
          </a:p>
          <a:p>
            <a:r>
              <a:rPr dirty="0" smtClean="0"/>
              <a:t>Cilat masa mund të ndihmojnë për të matur përmirësimet gjatë procesit të kalimit të kufirit?</a:t>
            </a:r>
          </a:p>
          <a:p>
            <a:r>
              <a:rPr dirty="0" smtClean="0"/>
              <a:t>Çfarë mendoni për matjen e procesit të kalimit të kufirit - procesi, aktorët, organizimi?</a:t>
            </a:r>
            <a:endParaRPr lang="sq-AL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A15629-2872-41D1-8923-F1F6C6ED9BA5}" type="slidenum">
              <a:rPr lang="it-IT" smtClean="0"/>
              <a:pPr>
                <a:defRPr/>
              </a:pPr>
              <a:t>30</a:t>
            </a:fld>
            <a:endParaRPr lang="sq-AL"/>
          </a:p>
        </p:txBody>
      </p:sp>
    </p:spTree>
    <p:extLst>
      <p:ext uri="{BB962C8B-B14F-4D97-AF65-F5344CB8AC3E}">
        <p14:creationId xmlns:p14="http://schemas.microsoft.com/office/powerpoint/2010/main" val="2113846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olo 7"/>
          <p:cNvSpPr>
            <a:spLocks noGrp="1"/>
          </p:cNvSpPr>
          <p:nvPr>
            <p:ph type="ctrTitle"/>
          </p:nvPr>
        </p:nvSpPr>
        <p:spPr bwMode="auto">
          <a:xfrm>
            <a:off x="827584" y="1412776"/>
            <a:ext cx="7772400" cy="3384376"/>
          </a:xfrm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r>
              <a:rPr lang="it-IT" sz="4000" b="0" dirty="0">
                <a:effectLst/>
              </a:rPr>
              <a:t>Faleminderit!</a:t>
            </a:r>
            <a:r>
              <a:t/>
            </a:r>
            <a:br/>
            <a:r>
              <a:t/>
            </a:r>
            <a:br/>
            <a:r>
              <a:rPr lang="it-IT" sz="3200" dirty="0" smtClean="0">
                <a:effectLst/>
              </a:rPr>
              <a:t>Maria Rosaria Ceccarelli</a:t>
            </a:r>
            <a:r>
              <a:t/>
            </a:r>
            <a:br/>
            <a:r>
              <a:rPr lang="it-IT" sz="3200" b="0" dirty="0" smtClean="0">
                <a:effectLst/>
              </a:rPr>
              <a:t>Drejtore e në detyrë, Sektori i Lehtësimit të Tregtisë</a:t>
            </a:r>
            <a:r>
              <a:t/>
            </a:r>
            <a:br/>
            <a:r>
              <a:rPr lang="it-IT" sz="3200" b="0" dirty="0" smtClean="0">
                <a:effectLst/>
              </a:rPr>
              <a:t>UNECE</a:t>
            </a:r>
            <a:r>
              <a:t/>
            </a:r>
            <a:br/>
            <a:r>
              <a:rPr lang="it-IT" sz="2000" b="0" dirty="0">
                <a:effectLst/>
              </a:rPr>
              <a:t>www.unece/trade.org</a:t>
            </a:r>
          </a:p>
        </p:txBody>
      </p:sp>
      <p:sp>
        <p:nvSpPr>
          <p:cNvPr id="10243" name="Sottotitolo 8"/>
          <p:cNvSpPr>
            <a:spLocks noGrp="1"/>
          </p:cNvSpPr>
          <p:nvPr>
            <p:ph type="subTitle" idx="1"/>
          </p:nvPr>
        </p:nvSpPr>
        <p:spPr>
          <a:xfrm>
            <a:off x="1169804" y="4941168"/>
            <a:ext cx="6944816" cy="792088"/>
          </a:xfrm>
        </p:spPr>
        <p:txBody>
          <a:bodyPr/>
          <a:lstStyle/>
          <a:p>
            <a:endParaRPr lang="it-IT" sz="1400" dirty="0"/>
          </a:p>
          <a:p>
            <a:endParaRPr lang="it-IT" sz="1400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6A973E5-E480-4B9A-B786-B3927CB75468}" type="slidenum">
              <a:rPr lang="it-IT"/>
              <a:pPr>
                <a:defRPr/>
              </a:pPr>
              <a:t>31</a:t>
            </a:fld>
            <a:endParaRPr lang="sq-AL"/>
          </a:p>
        </p:txBody>
      </p:sp>
    </p:spTree>
    <p:extLst>
      <p:ext uri="{BB962C8B-B14F-4D97-AF65-F5344CB8AC3E}">
        <p14:creationId xmlns:p14="http://schemas.microsoft.com/office/powerpoint/2010/main" val="736586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smtClean="0"/>
              <a:t>Drejt sa më pak vonesave në kufi</a:t>
            </a:r>
            <a:endParaRPr lang="sq-AL" dirty="0"/>
          </a:p>
        </p:txBody>
      </p:sp>
      <p:graphicFrame>
        <p:nvGraphicFramePr>
          <p:cNvPr id="5" name="Inhaltsplatzhalt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20544509"/>
              </p:ext>
            </p:extLst>
          </p:nvPr>
        </p:nvGraphicFramePr>
        <p:xfrm>
          <a:off x="457200" y="1196974"/>
          <a:ext cx="8229600" cy="51843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42D9F6-4E0E-41D8-BC1F-BF1CE87366CF}" type="slidenum">
              <a:rPr lang="en-US" smtClean="0"/>
              <a:pPr>
                <a:defRPr/>
              </a:pPr>
              <a:t>4</a:t>
            </a:fld>
            <a:endParaRPr lang="sq-A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leichschenkliges Dreieck 49"/>
          <p:cNvSpPr/>
          <p:nvPr/>
        </p:nvSpPr>
        <p:spPr>
          <a:xfrm rot="10800000">
            <a:off x="6012161" y="4941240"/>
            <a:ext cx="2016000" cy="648000"/>
          </a:xfrm>
          <a:prstGeom prst="triangl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1979712" y="2924944"/>
            <a:ext cx="1008112" cy="194421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4" name="Rechteck 53"/>
          <p:cNvSpPr/>
          <p:nvPr/>
        </p:nvSpPr>
        <p:spPr>
          <a:xfrm>
            <a:off x="6012160" y="2852936"/>
            <a:ext cx="1080120" cy="208823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9" name="Gleichschenkliges Dreieck 48"/>
          <p:cNvSpPr/>
          <p:nvPr/>
        </p:nvSpPr>
        <p:spPr>
          <a:xfrm>
            <a:off x="6012160" y="2204864"/>
            <a:ext cx="2016224" cy="648072"/>
          </a:xfrm>
          <a:prstGeom prst="triangl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8" name="Rechteck 47"/>
          <p:cNvSpPr/>
          <p:nvPr/>
        </p:nvSpPr>
        <p:spPr>
          <a:xfrm>
            <a:off x="7020272" y="2204864"/>
            <a:ext cx="1584176" cy="338437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7" name="Gleichschenkliges Dreieck 46"/>
          <p:cNvSpPr/>
          <p:nvPr/>
        </p:nvSpPr>
        <p:spPr>
          <a:xfrm rot="10800000">
            <a:off x="1115617" y="4869160"/>
            <a:ext cx="1872208" cy="648072"/>
          </a:xfrm>
          <a:prstGeom prst="triangl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6" name="Gleichschenkliges Dreieck 45"/>
          <p:cNvSpPr/>
          <p:nvPr/>
        </p:nvSpPr>
        <p:spPr>
          <a:xfrm>
            <a:off x="1043608" y="2204864"/>
            <a:ext cx="2016224" cy="720080"/>
          </a:xfrm>
          <a:prstGeom prst="triangl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395536" y="2204864"/>
            <a:ext cx="1656184" cy="331236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10" name="Gruppieren 9"/>
          <p:cNvGrpSpPr/>
          <p:nvPr/>
        </p:nvGrpSpPr>
        <p:grpSpPr>
          <a:xfrm>
            <a:off x="2555776" y="2060848"/>
            <a:ext cx="4183037" cy="3748584"/>
            <a:chOff x="2189163" y="1484313"/>
            <a:chExt cx="5022850" cy="4829175"/>
          </a:xfrm>
        </p:grpSpPr>
        <p:sp>
          <p:nvSpPr>
            <p:cNvPr id="11" name="Freeform 3"/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2209800" y="1638300"/>
              <a:ext cx="4727575" cy="4256088"/>
            </a:xfrm>
            <a:custGeom>
              <a:avLst/>
              <a:gdLst/>
              <a:ahLst/>
              <a:cxnLst>
                <a:cxn ang="0">
                  <a:pos x="530" y="84"/>
                </a:cxn>
                <a:cxn ang="0">
                  <a:pos x="1456" y="295"/>
                </a:cxn>
                <a:cxn ang="0">
                  <a:pos x="1519" y="325"/>
                </a:cxn>
                <a:cxn ang="0">
                  <a:pos x="138" y="415"/>
                </a:cxn>
                <a:cxn ang="0">
                  <a:pos x="163" y="444"/>
                </a:cxn>
                <a:cxn ang="0">
                  <a:pos x="1593" y="561"/>
                </a:cxn>
                <a:cxn ang="0">
                  <a:pos x="1645" y="530"/>
                </a:cxn>
                <a:cxn ang="0">
                  <a:pos x="1577" y="574"/>
                </a:cxn>
                <a:cxn ang="0">
                  <a:pos x="1613" y="598"/>
                </a:cxn>
                <a:cxn ang="0">
                  <a:pos x="1564" y="659"/>
                </a:cxn>
                <a:cxn ang="0">
                  <a:pos x="1643" y="814"/>
                </a:cxn>
                <a:cxn ang="0">
                  <a:pos x="1548" y="668"/>
                </a:cxn>
                <a:cxn ang="0">
                  <a:pos x="1555" y="704"/>
                </a:cxn>
                <a:cxn ang="0">
                  <a:pos x="1497" y="687"/>
                </a:cxn>
                <a:cxn ang="0">
                  <a:pos x="1394" y="728"/>
                </a:cxn>
                <a:cxn ang="0">
                  <a:pos x="1516" y="704"/>
                </a:cxn>
                <a:cxn ang="0">
                  <a:pos x="1612" y="784"/>
                </a:cxn>
                <a:cxn ang="0">
                  <a:pos x="1587" y="799"/>
                </a:cxn>
                <a:cxn ang="0">
                  <a:pos x="1694" y="752"/>
                </a:cxn>
                <a:cxn ang="0">
                  <a:pos x="1533" y="725"/>
                </a:cxn>
                <a:cxn ang="0">
                  <a:pos x="1559" y="743"/>
                </a:cxn>
                <a:cxn ang="0">
                  <a:pos x="1550" y="910"/>
                </a:cxn>
                <a:cxn ang="0">
                  <a:pos x="1460" y="828"/>
                </a:cxn>
                <a:cxn ang="0">
                  <a:pos x="1334" y="887"/>
                </a:cxn>
                <a:cxn ang="0">
                  <a:pos x="1340" y="1103"/>
                </a:cxn>
                <a:cxn ang="0">
                  <a:pos x="1473" y="1118"/>
                </a:cxn>
                <a:cxn ang="0">
                  <a:pos x="1581" y="1055"/>
                </a:cxn>
                <a:cxn ang="0">
                  <a:pos x="1649" y="872"/>
                </a:cxn>
                <a:cxn ang="0">
                  <a:pos x="1671" y="902"/>
                </a:cxn>
                <a:cxn ang="0">
                  <a:pos x="1596" y="815"/>
                </a:cxn>
                <a:cxn ang="0">
                  <a:pos x="1510" y="827"/>
                </a:cxn>
                <a:cxn ang="0">
                  <a:pos x="1589" y="865"/>
                </a:cxn>
                <a:cxn ang="0">
                  <a:pos x="1129" y="977"/>
                </a:cxn>
                <a:cxn ang="0">
                  <a:pos x="1121" y="1017"/>
                </a:cxn>
                <a:cxn ang="0">
                  <a:pos x="1073" y="1080"/>
                </a:cxn>
                <a:cxn ang="0">
                  <a:pos x="1345" y="1132"/>
                </a:cxn>
                <a:cxn ang="0">
                  <a:pos x="290" y="1296"/>
                </a:cxn>
                <a:cxn ang="0">
                  <a:pos x="689" y="58"/>
                </a:cxn>
                <a:cxn ang="0">
                  <a:pos x="524" y="26"/>
                </a:cxn>
                <a:cxn ang="0">
                  <a:pos x="231" y="343"/>
                </a:cxn>
                <a:cxn ang="0">
                  <a:pos x="178" y="499"/>
                </a:cxn>
                <a:cxn ang="0">
                  <a:pos x="64" y="623"/>
                </a:cxn>
                <a:cxn ang="0">
                  <a:pos x="193" y="1299"/>
                </a:cxn>
                <a:cxn ang="0">
                  <a:pos x="378" y="1416"/>
                </a:cxn>
                <a:cxn ang="0">
                  <a:pos x="342" y="1349"/>
                </a:cxn>
                <a:cxn ang="0">
                  <a:pos x="248" y="1245"/>
                </a:cxn>
                <a:cxn ang="0">
                  <a:pos x="119" y="767"/>
                </a:cxn>
                <a:cxn ang="0">
                  <a:pos x="139" y="607"/>
                </a:cxn>
                <a:cxn ang="0">
                  <a:pos x="361" y="359"/>
                </a:cxn>
                <a:cxn ang="0">
                  <a:pos x="432" y="296"/>
                </a:cxn>
                <a:cxn ang="0">
                  <a:pos x="474" y="141"/>
                </a:cxn>
                <a:cxn ang="0">
                  <a:pos x="545" y="68"/>
                </a:cxn>
                <a:cxn ang="0">
                  <a:pos x="717" y="64"/>
                </a:cxn>
                <a:cxn ang="0">
                  <a:pos x="1301" y="127"/>
                </a:cxn>
                <a:cxn ang="0">
                  <a:pos x="1393" y="183"/>
                </a:cxn>
                <a:cxn ang="0">
                  <a:pos x="1537" y="308"/>
                </a:cxn>
                <a:cxn ang="0">
                  <a:pos x="1682" y="671"/>
                </a:cxn>
                <a:cxn ang="0">
                  <a:pos x="1238" y="65"/>
                </a:cxn>
                <a:cxn ang="0">
                  <a:pos x="1413" y="215"/>
                </a:cxn>
                <a:cxn ang="0">
                  <a:pos x="1696" y="874"/>
                </a:cxn>
              </a:cxnLst>
              <a:rect l="0" t="0" r="r" b="b"/>
              <a:pathLst>
                <a:path w="1713" h="1537">
                  <a:moveTo>
                    <a:pt x="1152" y="12"/>
                  </a:moveTo>
                  <a:cubicBezTo>
                    <a:pt x="1149" y="12"/>
                    <a:pt x="1146" y="9"/>
                    <a:pt x="1145" y="11"/>
                  </a:cubicBezTo>
                  <a:cubicBezTo>
                    <a:pt x="1146" y="11"/>
                    <a:pt x="1150" y="15"/>
                    <a:pt x="1152" y="12"/>
                  </a:cubicBezTo>
                  <a:close/>
                  <a:moveTo>
                    <a:pt x="719" y="38"/>
                  </a:moveTo>
                  <a:cubicBezTo>
                    <a:pt x="708" y="38"/>
                    <a:pt x="708" y="38"/>
                    <a:pt x="708" y="38"/>
                  </a:cubicBezTo>
                  <a:cubicBezTo>
                    <a:pt x="708" y="41"/>
                    <a:pt x="719" y="43"/>
                    <a:pt x="719" y="38"/>
                  </a:cubicBezTo>
                  <a:close/>
                  <a:moveTo>
                    <a:pt x="763" y="72"/>
                  </a:moveTo>
                  <a:cubicBezTo>
                    <a:pt x="762" y="76"/>
                    <a:pt x="769" y="76"/>
                    <a:pt x="771" y="74"/>
                  </a:cubicBezTo>
                  <a:cubicBezTo>
                    <a:pt x="768" y="74"/>
                    <a:pt x="765" y="70"/>
                    <a:pt x="763" y="72"/>
                  </a:cubicBezTo>
                  <a:close/>
                  <a:moveTo>
                    <a:pt x="775" y="74"/>
                  </a:moveTo>
                  <a:cubicBezTo>
                    <a:pt x="778" y="76"/>
                    <a:pt x="786" y="80"/>
                    <a:pt x="788" y="76"/>
                  </a:cubicBezTo>
                  <a:cubicBezTo>
                    <a:pt x="783" y="77"/>
                    <a:pt x="779" y="72"/>
                    <a:pt x="775" y="74"/>
                  </a:cubicBezTo>
                  <a:close/>
                  <a:moveTo>
                    <a:pt x="530" y="84"/>
                  </a:moveTo>
                  <a:cubicBezTo>
                    <a:pt x="534" y="85"/>
                    <a:pt x="533" y="80"/>
                    <a:pt x="535" y="84"/>
                  </a:cubicBezTo>
                  <a:cubicBezTo>
                    <a:pt x="536" y="83"/>
                    <a:pt x="536" y="83"/>
                    <a:pt x="537" y="83"/>
                  </a:cubicBezTo>
                  <a:cubicBezTo>
                    <a:pt x="536" y="80"/>
                    <a:pt x="537" y="78"/>
                    <a:pt x="538" y="75"/>
                  </a:cubicBezTo>
                  <a:cubicBezTo>
                    <a:pt x="532" y="75"/>
                    <a:pt x="531" y="80"/>
                    <a:pt x="530" y="84"/>
                  </a:cubicBezTo>
                  <a:close/>
                  <a:moveTo>
                    <a:pt x="530" y="88"/>
                  </a:moveTo>
                  <a:cubicBezTo>
                    <a:pt x="530" y="92"/>
                    <a:pt x="532" y="98"/>
                    <a:pt x="527" y="101"/>
                  </a:cubicBezTo>
                  <a:cubicBezTo>
                    <a:pt x="533" y="99"/>
                    <a:pt x="537" y="94"/>
                    <a:pt x="538" y="87"/>
                  </a:cubicBezTo>
                  <a:cubicBezTo>
                    <a:pt x="535" y="87"/>
                    <a:pt x="533" y="90"/>
                    <a:pt x="530" y="88"/>
                  </a:cubicBezTo>
                  <a:close/>
                  <a:moveTo>
                    <a:pt x="1311" y="135"/>
                  </a:moveTo>
                  <a:cubicBezTo>
                    <a:pt x="1308" y="134"/>
                    <a:pt x="1306" y="128"/>
                    <a:pt x="1303" y="130"/>
                  </a:cubicBezTo>
                  <a:cubicBezTo>
                    <a:pt x="1306" y="131"/>
                    <a:pt x="1308" y="138"/>
                    <a:pt x="1311" y="135"/>
                  </a:cubicBezTo>
                  <a:close/>
                  <a:moveTo>
                    <a:pt x="1414" y="226"/>
                  </a:moveTo>
                  <a:cubicBezTo>
                    <a:pt x="1414" y="223"/>
                    <a:pt x="1413" y="221"/>
                    <a:pt x="1410" y="221"/>
                  </a:cubicBezTo>
                  <a:cubicBezTo>
                    <a:pt x="1409" y="225"/>
                    <a:pt x="1413" y="224"/>
                    <a:pt x="1412" y="228"/>
                  </a:cubicBezTo>
                  <a:cubicBezTo>
                    <a:pt x="1406" y="237"/>
                    <a:pt x="1416" y="247"/>
                    <a:pt x="1421" y="252"/>
                  </a:cubicBezTo>
                  <a:cubicBezTo>
                    <a:pt x="1425" y="264"/>
                    <a:pt x="1425" y="274"/>
                    <a:pt x="1434" y="281"/>
                  </a:cubicBezTo>
                  <a:cubicBezTo>
                    <a:pt x="1434" y="279"/>
                    <a:pt x="1431" y="277"/>
                    <a:pt x="1434" y="276"/>
                  </a:cubicBezTo>
                  <a:cubicBezTo>
                    <a:pt x="1436" y="279"/>
                    <a:pt x="1439" y="282"/>
                    <a:pt x="1441" y="287"/>
                  </a:cubicBezTo>
                  <a:cubicBezTo>
                    <a:pt x="1444" y="288"/>
                    <a:pt x="1441" y="283"/>
                    <a:pt x="1444" y="284"/>
                  </a:cubicBezTo>
                  <a:cubicBezTo>
                    <a:pt x="1444" y="290"/>
                    <a:pt x="1454" y="291"/>
                    <a:pt x="1456" y="289"/>
                  </a:cubicBezTo>
                  <a:cubicBezTo>
                    <a:pt x="1458" y="291"/>
                    <a:pt x="1455" y="292"/>
                    <a:pt x="1456" y="295"/>
                  </a:cubicBezTo>
                  <a:cubicBezTo>
                    <a:pt x="1462" y="296"/>
                    <a:pt x="1461" y="304"/>
                    <a:pt x="1468" y="306"/>
                  </a:cubicBezTo>
                  <a:cubicBezTo>
                    <a:pt x="1472" y="301"/>
                    <a:pt x="1466" y="298"/>
                    <a:pt x="1467" y="295"/>
                  </a:cubicBezTo>
                  <a:cubicBezTo>
                    <a:pt x="1469" y="297"/>
                    <a:pt x="1469" y="295"/>
                    <a:pt x="1472" y="296"/>
                  </a:cubicBezTo>
                  <a:cubicBezTo>
                    <a:pt x="1472" y="298"/>
                    <a:pt x="1474" y="298"/>
                    <a:pt x="1473" y="301"/>
                  </a:cubicBezTo>
                  <a:cubicBezTo>
                    <a:pt x="1472" y="301"/>
                    <a:pt x="1472" y="300"/>
                    <a:pt x="1470" y="300"/>
                  </a:cubicBezTo>
                  <a:cubicBezTo>
                    <a:pt x="1470" y="306"/>
                    <a:pt x="1475" y="306"/>
                    <a:pt x="1476" y="311"/>
                  </a:cubicBezTo>
                  <a:cubicBezTo>
                    <a:pt x="1478" y="312"/>
                    <a:pt x="1478" y="310"/>
                    <a:pt x="1479" y="310"/>
                  </a:cubicBezTo>
                  <a:cubicBezTo>
                    <a:pt x="1484" y="311"/>
                    <a:pt x="1483" y="317"/>
                    <a:pt x="1488" y="318"/>
                  </a:cubicBezTo>
                  <a:cubicBezTo>
                    <a:pt x="1491" y="309"/>
                    <a:pt x="1477" y="305"/>
                    <a:pt x="1477" y="300"/>
                  </a:cubicBezTo>
                  <a:cubicBezTo>
                    <a:pt x="1483" y="304"/>
                    <a:pt x="1486" y="309"/>
                    <a:pt x="1494" y="311"/>
                  </a:cubicBezTo>
                  <a:cubicBezTo>
                    <a:pt x="1486" y="299"/>
                    <a:pt x="1477" y="287"/>
                    <a:pt x="1459" y="284"/>
                  </a:cubicBezTo>
                  <a:cubicBezTo>
                    <a:pt x="1456" y="276"/>
                    <a:pt x="1452" y="269"/>
                    <a:pt x="1446" y="263"/>
                  </a:cubicBezTo>
                  <a:cubicBezTo>
                    <a:pt x="1446" y="266"/>
                    <a:pt x="1450" y="268"/>
                    <a:pt x="1447" y="269"/>
                  </a:cubicBezTo>
                  <a:cubicBezTo>
                    <a:pt x="1438" y="262"/>
                    <a:pt x="1428" y="252"/>
                    <a:pt x="1423" y="240"/>
                  </a:cubicBezTo>
                  <a:cubicBezTo>
                    <a:pt x="1423" y="239"/>
                    <a:pt x="1424" y="237"/>
                    <a:pt x="1424" y="237"/>
                  </a:cubicBezTo>
                  <a:cubicBezTo>
                    <a:pt x="1423" y="232"/>
                    <a:pt x="1416" y="223"/>
                    <a:pt x="1414" y="226"/>
                  </a:cubicBezTo>
                  <a:close/>
                  <a:moveTo>
                    <a:pt x="1519" y="325"/>
                  </a:moveTo>
                  <a:cubicBezTo>
                    <a:pt x="1520" y="328"/>
                    <a:pt x="1521" y="329"/>
                    <a:pt x="1524" y="330"/>
                  </a:cubicBezTo>
                  <a:cubicBezTo>
                    <a:pt x="1524" y="326"/>
                    <a:pt x="1521" y="326"/>
                    <a:pt x="1519" y="325"/>
                  </a:cubicBezTo>
                  <a:close/>
                  <a:moveTo>
                    <a:pt x="928" y="336"/>
                  </a:moveTo>
                  <a:cubicBezTo>
                    <a:pt x="928" y="340"/>
                    <a:pt x="935" y="341"/>
                    <a:pt x="934" y="335"/>
                  </a:cubicBezTo>
                  <a:cubicBezTo>
                    <a:pt x="931" y="335"/>
                    <a:pt x="929" y="335"/>
                    <a:pt x="928" y="336"/>
                  </a:cubicBezTo>
                  <a:close/>
                  <a:moveTo>
                    <a:pt x="913" y="346"/>
                  </a:moveTo>
                  <a:cubicBezTo>
                    <a:pt x="916" y="348"/>
                    <a:pt x="922" y="346"/>
                    <a:pt x="922" y="341"/>
                  </a:cubicBezTo>
                  <a:cubicBezTo>
                    <a:pt x="920" y="333"/>
                    <a:pt x="913" y="340"/>
                    <a:pt x="913" y="346"/>
                  </a:cubicBezTo>
                  <a:close/>
                  <a:moveTo>
                    <a:pt x="901" y="344"/>
                  </a:moveTo>
                  <a:cubicBezTo>
                    <a:pt x="904" y="350"/>
                    <a:pt x="894" y="346"/>
                    <a:pt x="893" y="351"/>
                  </a:cubicBezTo>
                  <a:cubicBezTo>
                    <a:pt x="898" y="355"/>
                    <a:pt x="903" y="351"/>
                    <a:pt x="908" y="349"/>
                  </a:cubicBezTo>
                  <a:cubicBezTo>
                    <a:pt x="908" y="345"/>
                    <a:pt x="903" y="346"/>
                    <a:pt x="901" y="344"/>
                  </a:cubicBezTo>
                  <a:close/>
                  <a:moveTo>
                    <a:pt x="901" y="357"/>
                  </a:moveTo>
                  <a:cubicBezTo>
                    <a:pt x="896" y="354"/>
                    <a:pt x="890" y="358"/>
                    <a:pt x="884" y="357"/>
                  </a:cubicBezTo>
                  <a:cubicBezTo>
                    <a:pt x="875" y="364"/>
                    <a:pt x="895" y="369"/>
                    <a:pt x="901" y="364"/>
                  </a:cubicBezTo>
                  <a:cubicBezTo>
                    <a:pt x="899" y="360"/>
                    <a:pt x="897" y="360"/>
                    <a:pt x="901" y="357"/>
                  </a:cubicBezTo>
                  <a:close/>
                  <a:moveTo>
                    <a:pt x="138" y="415"/>
                  </a:moveTo>
                  <a:cubicBezTo>
                    <a:pt x="134" y="415"/>
                    <a:pt x="133" y="417"/>
                    <a:pt x="132" y="420"/>
                  </a:cubicBezTo>
                  <a:cubicBezTo>
                    <a:pt x="136" y="421"/>
                    <a:pt x="137" y="417"/>
                    <a:pt x="138" y="415"/>
                  </a:cubicBezTo>
                  <a:close/>
                  <a:moveTo>
                    <a:pt x="130" y="417"/>
                  </a:moveTo>
                  <a:cubicBezTo>
                    <a:pt x="128" y="421"/>
                    <a:pt x="124" y="422"/>
                    <a:pt x="124" y="429"/>
                  </a:cubicBezTo>
                  <a:cubicBezTo>
                    <a:pt x="129" y="428"/>
                    <a:pt x="130" y="419"/>
                    <a:pt x="130" y="417"/>
                  </a:cubicBezTo>
                  <a:close/>
                  <a:moveTo>
                    <a:pt x="1576" y="428"/>
                  </a:moveTo>
                  <a:cubicBezTo>
                    <a:pt x="1578" y="441"/>
                    <a:pt x="1584" y="458"/>
                    <a:pt x="1592" y="468"/>
                  </a:cubicBezTo>
                  <a:cubicBezTo>
                    <a:pt x="1593" y="451"/>
                    <a:pt x="1585" y="437"/>
                    <a:pt x="1576" y="428"/>
                  </a:cubicBezTo>
                  <a:close/>
                  <a:moveTo>
                    <a:pt x="128" y="436"/>
                  </a:moveTo>
                  <a:cubicBezTo>
                    <a:pt x="127" y="439"/>
                    <a:pt x="123" y="443"/>
                    <a:pt x="124" y="446"/>
                  </a:cubicBezTo>
                  <a:cubicBezTo>
                    <a:pt x="126" y="443"/>
                    <a:pt x="132" y="441"/>
                    <a:pt x="128" y="436"/>
                  </a:cubicBezTo>
                  <a:close/>
                  <a:moveTo>
                    <a:pt x="118" y="437"/>
                  </a:moveTo>
                  <a:cubicBezTo>
                    <a:pt x="117" y="444"/>
                    <a:pt x="110" y="450"/>
                    <a:pt x="111" y="455"/>
                  </a:cubicBezTo>
                  <a:cubicBezTo>
                    <a:pt x="113" y="450"/>
                    <a:pt x="121" y="441"/>
                    <a:pt x="118" y="437"/>
                  </a:cubicBezTo>
                  <a:close/>
                  <a:moveTo>
                    <a:pt x="112" y="495"/>
                  </a:moveTo>
                  <a:cubicBezTo>
                    <a:pt x="113" y="473"/>
                    <a:pt x="139" y="464"/>
                    <a:pt x="146" y="448"/>
                  </a:cubicBezTo>
                  <a:cubicBezTo>
                    <a:pt x="150" y="447"/>
                    <a:pt x="157" y="446"/>
                    <a:pt x="163" y="444"/>
                  </a:cubicBezTo>
                  <a:cubicBezTo>
                    <a:pt x="154" y="432"/>
                    <a:pt x="144" y="446"/>
                    <a:pt x="135" y="450"/>
                  </a:cubicBezTo>
                  <a:cubicBezTo>
                    <a:pt x="128" y="463"/>
                    <a:pt x="116" y="465"/>
                    <a:pt x="111" y="481"/>
                  </a:cubicBezTo>
                  <a:cubicBezTo>
                    <a:pt x="102" y="487"/>
                    <a:pt x="98" y="497"/>
                    <a:pt x="92" y="505"/>
                  </a:cubicBezTo>
                  <a:cubicBezTo>
                    <a:pt x="103" y="506"/>
                    <a:pt x="103" y="496"/>
                    <a:pt x="112" y="495"/>
                  </a:cubicBezTo>
                  <a:close/>
                  <a:moveTo>
                    <a:pt x="146" y="459"/>
                  </a:moveTo>
                  <a:cubicBezTo>
                    <a:pt x="148" y="459"/>
                    <a:pt x="150" y="459"/>
                    <a:pt x="149" y="455"/>
                  </a:cubicBezTo>
                  <a:cubicBezTo>
                    <a:pt x="146" y="455"/>
                    <a:pt x="145" y="456"/>
                    <a:pt x="146" y="459"/>
                  </a:cubicBezTo>
                  <a:close/>
                  <a:moveTo>
                    <a:pt x="92" y="496"/>
                  </a:moveTo>
                  <a:cubicBezTo>
                    <a:pt x="88" y="495"/>
                    <a:pt x="89" y="499"/>
                    <a:pt x="88" y="502"/>
                  </a:cubicBezTo>
                  <a:cubicBezTo>
                    <a:pt x="91" y="502"/>
                    <a:pt x="92" y="499"/>
                    <a:pt x="92" y="496"/>
                  </a:cubicBezTo>
                  <a:close/>
                  <a:moveTo>
                    <a:pt x="1606" y="540"/>
                  </a:moveTo>
                  <a:cubicBezTo>
                    <a:pt x="1603" y="524"/>
                    <a:pt x="1602" y="509"/>
                    <a:pt x="1589" y="502"/>
                  </a:cubicBezTo>
                  <a:cubicBezTo>
                    <a:pt x="1587" y="522"/>
                    <a:pt x="1598" y="536"/>
                    <a:pt x="1598" y="554"/>
                  </a:cubicBezTo>
                  <a:cubicBezTo>
                    <a:pt x="1594" y="553"/>
                    <a:pt x="1591" y="549"/>
                    <a:pt x="1586" y="549"/>
                  </a:cubicBezTo>
                  <a:cubicBezTo>
                    <a:pt x="1582" y="552"/>
                    <a:pt x="1581" y="563"/>
                    <a:pt x="1588" y="564"/>
                  </a:cubicBezTo>
                  <a:cubicBezTo>
                    <a:pt x="1590" y="562"/>
                    <a:pt x="1589" y="557"/>
                    <a:pt x="1591" y="555"/>
                  </a:cubicBezTo>
                  <a:cubicBezTo>
                    <a:pt x="1593" y="557"/>
                    <a:pt x="1592" y="560"/>
                    <a:pt x="1593" y="561"/>
                  </a:cubicBezTo>
                  <a:cubicBezTo>
                    <a:pt x="1597" y="562"/>
                    <a:pt x="1596" y="559"/>
                    <a:pt x="1599" y="559"/>
                  </a:cubicBezTo>
                  <a:cubicBezTo>
                    <a:pt x="1606" y="564"/>
                    <a:pt x="1595" y="578"/>
                    <a:pt x="1604" y="582"/>
                  </a:cubicBezTo>
                  <a:cubicBezTo>
                    <a:pt x="1603" y="575"/>
                    <a:pt x="1609" y="569"/>
                    <a:pt x="1603" y="565"/>
                  </a:cubicBezTo>
                  <a:cubicBezTo>
                    <a:pt x="1607" y="560"/>
                    <a:pt x="1609" y="552"/>
                    <a:pt x="1610" y="543"/>
                  </a:cubicBezTo>
                  <a:cubicBezTo>
                    <a:pt x="1609" y="541"/>
                    <a:pt x="1607" y="541"/>
                    <a:pt x="1606" y="540"/>
                  </a:cubicBezTo>
                  <a:close/>
                  <a:moveTo>
                    <a:pt x="99" y="526"/>
                  </a:moveTo>
                  <a:cubicBezTo>
                    <a:pt x="103" y="523"/>
                    <a:pt x="110" y="519"/>
                    <a:pt x="112" y="511"/>
                  </a:cubicBezTo>
                  <a:cubicBezTo>
                    <a:pt x="106" y="513"/>
                    <a:pt x="98" y="519"/>
                    <a:pt x="99" y="526"/>
                  </a:cubicBezTo>
                  <a:close/>
                  <a:moveTo>
                    <a:pt x="73" y="545"/>
                  </a:moveTo>
                  <a:cubicBezTo>
                    <a:pt x="73" y="537"/>
                    <a:pt x="80" y="533"/>
                    <a:pt x="85" y="533"/>
                  </a:cubicBezTo>
                  <a:cubicBezTo>
                    <a:pt x="86" y="529"/>
                    <a:pt x="88" y="528"/>
                    <a:pt x="89" y="524"/>
                  </a:cubicBezTo>
                  <a:cubicBezTo>
                    <a:pt x="85" y="523"/>
                    <a:pt x="83" y="529"/>
                    <a:pt x="81" y="527"/>
                  </a:cubicBezTo>
                  <a:cubicBezTo>
                    <a:pt x="82" y="521"/>
                    <a:pt x="86" y="517"/>
                    <a:pt x="88" y="512"/>
                  </a:cubicBezTo>
                  <a:cubicBezTo>
                    <a:pt x="73" y="520"/>
                    <a:pt x="67" y="536"/>
                    <a:pt x="59" y="551"/>
                  </a:cubicBezTo>
                  <a:cubicBezTo>
                    <a:pt x="65" y="550"/>
                    <a:pt x="66" y="542"/>
                    <a:pt x="73" y="545"/>
                  </a:cubicBezTo>
                  <a:close/>
                  <a:moveTo>
                    <a:pt x="1658" y="557"/>
                  </a:moveTo>
                  <a:cubicBezTo>
                    <a:pt x="1659" y="547"/>
                    <a:pt x="1652" y="532"/>
                    <a:pt x="1645" y="530"/>
                  </a:cubicBezTo>
                  <a:cubicBezTo>
                    <a:pt x="1650" y="539"/>
                    <a:pt x="1650" y="552"/>
                    <a:pt x="1658" y="557"/>
                  </a:cubicBezTo>
                  <a:close/>
                  <a:moveTo>
                    <a:pt x="53" y="556"/>
                  </a:moveTo>
                  <a:cubicBezTo>
                    <a:pt x="53" y="562"/>
                    <a:pt x="47" y="562"/>
                    <a:pt x="47" y="569"/>
                  </a:cubicBezTo>
                  <a:cubicBezTo>
                    <a:pt x="50" y="570"/>
                    <a:pt x="56" y="561"/>
                    <a:pt x="53" y="556"/>
                  </a:cubicBezTo>
                  <a:close/>
                  <a:moveTo>
                    <a:pt x="1578" y="581"/>
                  </a:moveTo>
                  <a:cubicBezTo>
                    <a:pt x="1575" y="583"/>
                    <a:pt x="1573" y="586"/>
                    <a:pt x="1574" y="592"/>
                  </a:cubicBezTo>
                  <a:cubicBezTo>
                    <a:pt x="1579" y="593"/>
                    <a:pt x="1579" y="589"/>
                    <a:pt x="1582" y="588"/>
                  </a:cubicBezTo>
                  <a:cubicBezTo>
                    <a:pt x="1584" y="592"/>
                    <a:pt x="1583" y="598"/>
                    <a:pt x="1586" y="601"/>
                  </a:cubicBezTo>
                  <a:cubicBezTo>
                    <a:pt x="1586" y="598"/>
                    <a:pt x="1584" y="593"/>
                    <a:pt x="1587" y="592"/>
                  </a:cubicBezTo>
                  <a:cubicBezTo>
                    <a:pt x="1592" y="600"/>
                    <a:pt x="1584" y="615"/>
                    <a:pt x="1595" y="617"/>
                  </a:cubicBezTo>
                  <a:cubicBezTo>
                    <a:pt x="1597" y="608"/>
                    <a:pt x="1590" y="604"/>
                    <a:pt x="1593" y="597"/>
                  </a:cubicBezTo>
                  <a:cubicBezTo>
                    <a:pt x="1596" y="597"/>
                    <a:pt x="1596" y="601"/>
                    <a:pt x="1598" y="599"/>
                  </a:cubicBezTo>
                  <a:cubicBezTo>
                    <a:pt x="1598" y="592"/>
                    <a:pt x="1597" y="587"/>
                    <a:pt x="1596" y="582"/>
                  </a:cubicBezTo>
                  <a:cubicBezTo>
                    <a:pt x="1595" y="581"/>
                    <a:pt x="1592" y="583"/>
                    <a:pt x="1588" y="582"/>
                  </a:cubicBezTo>
                  <a:cubicBezTo>
                    <a:pt x="1587" y="586"/>
                    <a:pt x="1593" y="589"/>
                    <a:pt x="1589" y="592"/>
                  </a:cubicBezTo>
                  <a:cubicBezTo>
                    <a:pt x="1588" y="590"/>
                    <a:pt x="1586" y="581"/>
                    <a:pt x="1584" y="586"/>
                  </a:cubicBezTo>
                  <a:cubicBezTo>
                    <a:pt x="1582" y="581"/>
                    <a:pt x="1578" y="579"/>
                    <a:pt x="1577" y="574"/>
                  </a:cubicBezTo>
                  <a:cubicBezTo>
                    <a:pt x="1579" y="573"/>
                    <a:pt x="1581" y="572"/>
                    <a:pt x="1583" y="572"/>
                  </a:cubicBezTo>
                  <a:cubicBezTo>
                    <a:pt x="1579" y="549"/>
                    <a:pt x="1561" y="585"/>
                    <a:pt x="1578" y="581"/>
                  </a:cubicBezTo>
                  <a:close/>
                  <a:moveTo>
                    <a:pt x="1587" y="632"/>
                  </a:moveTo>
                  <a:cubicBezTo>
                    <a:pt x="1590" y="635"/>
                    <a:pt x="1593" y="642"/>
                    <a:pt x="1598" y="640"/>
                  </a:cubicBezTo>
                  <a:cubicBezTo>
                    <a:pt x="1597" y="631"/>
                    <a:pt x="1590" y="628"/>
                    <a:pt x="1588" y="620"/>
                  </a:cubicBezTo>
                  <a:cubicBezTo>
                    <a:pt x="1578" y="618"/>
                    <a:pt x="1579" y="606"/>
                    <a:pt x="1572" y="600"/>
                  </a:cubicBezTo>
                  <a:cubicBezTo>
                    <a:pt x="1573" y="599"/>
                    <a:pt x="1575" y="599"/>
                    <a:pt x="1574" y="596"/>
                  </a:cubicBezTo>
                  <a:cubicBezTo>
                    <a:pt x="1570" y="593"/>
                    <a:pt x="1569" y="599"/>
                    <a:pt x="1565" y="599"/>
                  </a:cubicBezTo>
                  <a:cubicBezTo>
                    <a:pt x="1568" y="613"/>
                    <a:pt x="1561" y="624"/>
                    <a:pt x="1568" y="633"/>
                  </a:cubicBezTo>
                  <a:cubicBezTo>
                    <a:pt x="1569" y="632"/>
                    <a:pt x="1569" y="630"/>
                    <a:pt x="1571" y="629"/>
                  </a:cubicBezTo>
                  <a:cubicBezTo>
                    <a:pt x="1574" y="635"/>
                    <a:pt x="1569" y="638"/>
                    <a:pt x="1570" y="645"/>
                  </a:cubicBezTo>
                  <a:cubicBezTo>
                    <a:pt x="1579" y="651"/>
                    <a:pt x="1586" y="643"/>
                    <a:pt x="1587" y="632"/>
                  </a:cubicBezTo>
                  <a:close/>
                  <a:moveTo>
                    <a:pt x="1579" y="595"/>
                  </a:moveTo>
                  <a:cubicBezTo>
                    <a:pt x="1580" y="597"/>
                    <a:pt x="1579" y="601"/>
                    <a:pt x="1583" y="600"/>
                  </a:cubicBezTo>
                  <a:cubicBezTo>
                    <a:pt x="1583" y="598"/>
                    <a:pt x="1583" y="596"/>
                    <a:pt x="1582" y="595"/>
                  </a:cubicBezTo>
                  <a:lnTo>
                    <a:pt x="1579" y="595"/>
                  </a:lnTo>
                  <a:close/>
                  <a:moveTo>
                    <a:pt x="1613" y="598"/>
                  </a:moveTo>
                  <a:cubicBezTo>
                    <a:pt x="1612" y="620"/>
                    <a:pt x="1625" y="632"/>
                    <a:pt x="1631" y="649"/>
                  </a:cubicBezTo>
                  <a:cubicBezTo>
                    <a:pt x="1629" y="634"/>
                    <a:pt x="1621" y="624"/>
                    <a:pt x="1616" y="612"/>
                  </a:cubicBezTo>
                  <a:cubicBezTo>
                    <a:pt x="1620" y="608"/>
                    <a:pt x="1616" y="600"/>
                    <a:pt x="1613" y="598"/>
                  </a:cubicBezTo>
                  <a:close/>
                  <a:moveTo>
                    <a:pt x="54" y="629"/>
                  </a:moveTo>
                  <a:cubicBezTo>
                    <a:pt x="55" y="628"/>
                    <a:pt x="58" y="623"/>
                    <a:pt x="55" y="621"/>
                  </a:cubicBezTo>
                  <a:cubicBezTo>
                    <a:pt x="55" y="623"/>
                    <a:pt x="52" y="627"/>
                    <a:pt x="54" y="629"/>
                  </a:cubicBezTo>
                  <a:close/>
                  <a:moveTo>
                    <a:pt x="1310" y="675"/>
                  </a:moveTo>
                  <a:cubicBezTo>
                    <a:pt x="1314" y="674"/>
                    <a:pt x="1312" y="666"/>
                    <a:pt x="1314" y="662"/>
                  </a:cubicBezTo>
                  <a:cubicBezTo>
                    <a:pt x="1323" y="662"/>
                    <a:pt x="1324" y="654"/>
                    <a:pt x="1334" y="655"/>
                  </a:cubicBezTo>
                  <a:cubicBezTo>
                    <a:pt x="1334" y="652"/>
                    <a:pt x="1334" y="648"/>
                    <a:pt x="1331" y="648"/>
                  </a:cubicBezTo>
                  <a:cubicBezTo>
                    <a:pt x="1324" y="656"/>
                    <a:pt x="1293" y="662"/>
                    <a:pt x="1310" y="675"/>
                  </a:cubicBezTo>
                  <a:close/>
                  <a:moveTo>
                    <a:pt x="1601" y="655"/>
                  </a:moveTo>
                  <a:cubicBezTo>
                    <a:pt x="1600" y="653"/>
                    <a:pt x="1601" y="649"/>
                    <a:pt x="1597" y="649"/>
                  </a:cubicBezTo>
                  <a:cubicBezTo>
                    <a:pt x="1595" y="651"/>
                    <a:pt x="1596" y="656"/>
                    <a:pt x="1598" y="657"/>
                  </a:cubicBezTo>
                  <a:cubicBezTo>
                    <a:pt x="1598" y="656"/>
                    <a:pt x="1600" y="656"/>
                    <a:pt x="1601" y="655"/>
                  </a:cubicBezTo>
                  <a:close/>
                  <a:moveTo>
                    <a:pt x="1561" y="650"/>
                  </a:moveTo>
                  <a:cubicBezTo>
                    <a:pt x="1560" y="654"/>
                    <a:pt x="1561" y="658"/>
                    <a:pt x="1564" y="659"/>
                  </a:cubicBezTo>
                  <a:cubicBezTo>
                    <a:pt x="1563" y="656"/>
                    <a:pt x="1565" y="650"/>
                    <a:pt x="1561" y="650"/>
                  </a:cubicBezTo>
                  <a:close/>
                  <a:moveTo>
                    <a:pt x="1376" y="658"/>
                  </a:moveTo>
                  <a:cubicBezTo>
                    <a:pt x="1375" y="655"/>
                    <a:pt x="1373" y="652"/>
                    <a:pt x="1369" y="652"/>
                  </a:cubicBezTo>
                  <a:cubicBezTo>
                    <a:pt x="1365" y="657"/>
                    <a:pt x="1372" y="661"/>
                    <a:pt x="1376" y="658"/>
                  </a:cubicBezTo>
                  <a:close/>
                  <a:moveTo>
                    <a:pt x="1573" y="656"/>
                  </a:moveTo>
                  <a:cubicBezTo>
                    <a:pt x="1573" y="659"/>
                    <a:pt x="1574" y="660"/>
                    <a:pt x="1575" y="661"/>
                  </a:cubicBezTo>
                  <a:cubicBezTo>
                    <a:pt x="1577" y="659"/>
                    <a:pt x="1576" y="655"/>
                    <a:pt x="1573" y="656"/>
                  </a:cubicBezTo>
                  <a:close/>
                  <a:moveTo>
                    <a:pt x="1606" y="656"/>
                  </a:moveTo>
                  <a:cubicBezTo>
                    <a:pt x="1606" y="659"/>
                    <a:pt x="1607" y="661"/>
                    <a:pt x="1609" y="663"/>
                  </a:cubicBezTo>
                  <a:cubicBezTo>
                    <a:pt x="1611" y="661"/>
                    <a:pt x="1608" y="659"/>
                    <a:pt x="1609" y="656"/>
                  </a:cubicBezTo>
                  <a:lnTo>
                    <a:pt x="1606" y="656"/>
                  </a:lnTo>
                  <a:close/>
                  <a:moveTo>
                    <a:pt x="1623" y="742"/>
                  </a:moveTo>
                  <a:cubicBezTo>
                    <a:pt x="1623" y="744"/>
                    <a:pt x="1619" y="741"/>
                    <a:pt x="1620" y="744"/>
                  </a:cubicBezTo>
                  <a:cubicBezTo>
                    <a:pt x="1621" y="755"/>
                    <a:pt x="1634" y="764"/>
                    <a:pt x="1624" y="774"/>
                  </a:cubicBezTo>
                  <a:cubicBezTo>
                    <a:pt x="1626" y="789"/>
                    <a:pt x="1627" y="807"/>
                    <a:pt x="1635" y="816"/>
                  </a:cubicBezTo>
                  <a:cubicBezTo>
                    <a:pt x="1634" y="813"/>
                    <a:pt x="1634" y="809"/>
                    <a:pt x="1636" y="806"/>
                  </a:cubicBezTo>
                  <a:cubicBezTo>
                    <a:pt x="1639" y="807"/>
                    <a:pt x="1640" y="812"/>
                    <a:pt x="1643" y="814"/>
                  </a:cubicBezTo>
                  <a:cubicBezTo>
                    <a:pt x="1644" y="812"/>
                    <a:pt x="1644" y="809"/>
                    <a:pt x="1646" y="810"/>
                  </a:cubicBezTo>
                  <a:cubicBezTo>
                    <a:pt x="1647" y="814"/>
                    <a:pt x="1649" y="818"/>
                    <a:pt x="1652" y="820"/>
                  </a:cubicBezTo>
                  <a:cubicBezTo>
                    <a:pt x="1652" y="817"/>
                    <a:pt x="1652" y="814"/>
                    <a:pt x="1654" y="813"/>
                  </a:cubicBezTo>
                  <a:cubicBezTo>
                    <a:pt x="1654" y="819"/>
                    <a:pt x="1656" y="822"/>
                    <a:pt x="1660" y="824"/>
                  </a:cubicBezTo>
                  <a:cubicBezTo>
                    <a:pt x="1662" y="802"/>
                    <a:pt x="1680" y="782"/>
                    <a:pt x="1666" y="762"/>
                  </a:cubicBezTo>
                  <a:cubicBezTo>
                    <a:pt x="1665" y="761"/>
                    <a:pt x="1661" y="763"/>
                    <a:pt x="1661" y="761"/>
                  </a:cubicBezTo>
                  <a:cubicBezTo>
                    <a:pt x="1665" y="735"/>
                    <a:pt x="1644" y="720"/>
                    <a:pt x="1644" y="691"/>
                  </a:cubicBezTo>
                  <a:cubicBezTo>
                    <a:pt x="1634" y="685"/>
                    <a:pt x="1638" y="666"/>
                    <a:pt x="1630" y="658"/>
                  </a:cubicBezTo>
                  <a:cubicBezTo>
                    <a:pt x="1627" y="666"/>
                    <a:pt x="1621" y="668"/>
                    <a:pt x="1614" y="671"/>
                  </a:cubicBezTo>
                  <a:cubicBezTo>
                    <a:pt x="1614" y="677"/>
                    <a:pt x="1618" y="677"/>
                    <a:pt x="1621" y="680"/>
                  </a:cubicBezTo>
                  <a:cubicBezTo>
                    <a:pt x="1622" y="684"/>
                    <a:pt x="1618" y="683"/>
                    <a:pt x="1619" y="687"/>
                  </a:cubicBezTo>
                  <a:cubicBezTo>
                    <a:pt x="1621" y="689"/>
                    <a:pt x="1624" y="689"/>
                    <a:pt x="1625" y="690"/>
                  </a:cubicBezTo>
                  <a:cubicBezTo>
                    <a:pt x="1623" y="696"/>
                    <a:pt x="1628" y="708"/>
                    <a:pt x="1620" y="710"/>
                  </a:cubicBezTo>
                  <a:cubicBezTo>
                    <a:pt x="1620" y="714"/>
                    <a:pt x="1621" y="715"/>
                    <a:pt x="1621" y="719"/>
                  </a:cubicBezTo>
                  <a:cubicBezTo>
                    <a:pt x="1618" y="721"/>
                    <a:pt x="1616" y="726"/>
                    <a:pt x="1614" y="731"/>
                  </a:cubicBezTo>
                  <a:cubicBezTo>
                    <a:pt x="1617" y="735"/>
                    <a:pt x="1623" y="735"/>
                    <a:pt x="1623" y="742"/>
                  </a:cubicBezTo>
                  <a:close/>
                  <a:moveTo>
                    <a:pt x="1548" y="668"/>
                  </a:moveTo>
                  <a:cubicBezTo>
                    <a:pt x="1547" y="667"/>
                    <a:pt x="1547" y="667"/>
                    <a:pt x="1547" y="666"/>
                  </a:cubicBezTo>
                  <a:cubicBezTo>
                    <a:pt x="1542" y="666"/>
                    <a:pt x="1542" y="666"/>
                    <a:pt x="1542" y="666"/>
                  </a:cubicBezTo>
                  <a:cubicBezTo>
                    <a:pt x="1542" y="668"/>
                    <a:pt x="1542" y="670"/>
                    <a:pt x="1543" y="671"/>
                  </a:cubicBezTo>
                  <a:cubicBezTo>
                    <a:pt x="1546" y="672"/>
                    <a:pt x="1548" y="670"/>
                    <a:pt x="1548" y="668"/>
                  </a:cubicBezTo>
                  <a:close/>
                  <a:moveTo>
                    <a:pt x="1350" y="702"/>
                  </a:moveTo>
                  <a:cubicBezTo>
                    <a:pt x="1351" y="700"/>
                    <a:pt x="1354" y="700"/>
                    <a:pt x="1353" y="697"/>
                  </a:cubicBezTo>
                  <a:cubicBezTo>
                    <a:pt x="1346" y="688"/>
                    <a:pt x="1330" y="688"/>
                    <a:pt x="1324" y="677"/>
                  </a:cubicBezTo>
                  <a:cubicBezTo>
                    <a:pt x="1325" y="675"/>
                    <a:pt x="1329" y="676"/>
                    <a:pt x="1328" y="672"/>
                  </a:cubicBezTo>
                  <a:cubicBezTo>
                    <a:pt x="1326" y="669"/>
                    <a:pt x="1324" y="666"/>
                    <a:pt x="1317" y="667"/>
                  </a:cubicBezTo>
                  <a:cubicBezTo>
                    <a:pt x="1310" y="689"/>
                    <a:pt x="1330" y="700"/>
                    <a:pt x="1350" y="702"/>
                  </a:cubicBezTo>
                  <a:close/>
                  <a:moveTo>
                    <a:pt x="1274" y="691"/>
                  </a:moveTo>
                  <a:cubicBezTo>
                    <a:pt x="1282" y="690"/>
                    <a:pt x="1291" y="682"/>
                    <a:pt x="1293" y="671"/>
                  </a:cubicBezTo>
                  <a:cubicBezTo>
                    <a:pt x="1287" y="669"/>
                    <a:pt x="1272" y="680"/>
                    <a:pt x="1274" y="691"/>
                  </a:cubicBezTo>
                  <a:close/>
                  <a:moveTo>
                    <a:pt x="1541" y="696"/>
                  </a:moveTo>
                  <a:cubicBezTo>
                    <a:pt x="1546" y="696"/>
                    <a:pt x="1547" y="698"/>
                    <a:pt x="1547" y="702"/>
                  </a:cubicBezTo>
                  <a:cubicBezTo>
                    <a:pt x="1547" y="705"/>
                    <a:pt x="1542" y="703"/>
                    <a:pt x="1542" y="707"/>
                  </a:cubicBezTo>
                  <a:cubicBezTo>
                    <a:pt x="1546" y="712"/>
                    <a:pt x="1552" y="706"/>
                    <a:pt x="1555" y="704"/>
                  </a:cubicBezTo>
                  <a:cubicBezTo>
                    <a:pt x="1558" y="695"/>
                    <a:pt x="1557" y="681"/>
                    <a:pt x="1550" y="672"/>
                  </a:cubicBezTo>
                  <a:cubicBezTo>
                    <a:pt x="1548" y="680"/>
                    <a:pt x="1553" y="687"/>
                    <a:pt x="1551" y="692"/>
                  </a:cubicBezTo>
                  <a:cubicBezTo>
                    <a:pt x="1546" y="691"/>
                    <a:pt x="1549" y="682"/>
                    <a:pt x="1541" y="684"/>
                  </a:cubicBezTo>
                  <a:cubicBezTo>
                    <a:pt x="1540" y="689"/>
                    <a:pt x="1542" y="692"/>
                    <a:pt x="1541" y="696"/>
                  </a:cubicBezTo>
                  <a:close/>
                  <a:moveTo>
                    <a:pt x="207" y="678"/>
                  </a:moveTo>
                  <a:cubicBezTo>
                    <a:pt x="204" y="678"/>
                    <a:pt x="204" y="678"/>
                    <a:pt x="204" y="678"/>
                  </a:cubicBezTo>
                  <a:cubicBezTo>
                    <a:pt x="204" y="683"/>
                    <a:pt x="201" y="684"/>
                    <a:pt x="198" y="684"/>
                  </a:cubicBezTo>
                  <a:cubicBezTo>
                    <a:pt x="198" y="688"/>
                    <a:pt x="198" y="688"/>
                    <a:pt x="198" y="688"/>
                  </a:cubicBezTo>
                  <a:cubicBezTo>
                    <a:pt x="203" y="686"/>
                    <a:pt x="200" y="692"/>
                    <a:pt x="202" y="694"/>
                  </a:cubicBezTo>
                  <a:cubicBezTo>
                    <a:pt x="204" y="694"/>
                    <a:pt x="206" y="693"/>
                    <a:pt x="207" y="693"/>
                  </a:cubicBezTo>
                  <a:cubicBezTo>
                    <a:pt x="208" y="689"/>
                    <a:pt x="206" y="687"/>
                    <a:pt x="205" y="686"/>
                  </a:cubicBezTo>
                  <a:cubicBezTo>
                    <a:pt x="212" y="685"/>
                    <a:pt x="204" y="681"/>
                    <a:pt x="207" y="678"/>
                  </a:cubicBezTo>
                  <a:close/>
                  <a:moveTo>
                    <a:pt x="1525" y="706"/>
                  </a:moveTo>
                  <a:cubicBezTo>
                    <a:pt x="1526" y="704"/>
                    <a:pt x="1528" y="703"/>
                    <a:pt x="1527" y="699"/>
                  </a:cubicBezTo>
                  <a:cubicBezTo>
                    <a:pt x="1525" y="697"/>
                    <a:pt x="1525" y="701"/>
                    <a:pt x="1522" y="700"/>
                  </a:cubicBezTo>
                  <a:cubicBezTo>
                    <a:pt x="1519" y="695"/>
                    <a:pt x="1516" y="689"/>
                    <a:pt x="1511" y="685"/>
                  </a:cubicBezTo>
                  <a:cubicBezTo>
                    <a:pt x="1506" y="687"/>
                    <a:pt x="1501" y="686"/>
                    <a:pt x="1497" y="687"/>
                  </a:cubicBezTo>
                  <a:cubicBezTo>
                    <a:pt x="1494" y="692"/>
                    <a:pt x="1496" y="701"/>
                    <a:pt x="1492" y="706"/>
                  </a:cubicBezTo>
                  <a:cubicBezTo>
                    <a:pt x="1491" y="706"/>
                    <a:pt x="1491" y="704"/>
                    <a:pt x="1490" y="704"/>
                  </a:cubicBezTo>
                  <a:cubicBezTo>
                    <a:pt x="1489" y="708"/>
                    <a:pt x="1489" y="710"/>
                    <a:pt x="1486" y="711"/>
                  </a:cubicBezTo>
                  <a:cubicBezTo>
                    <a:pt x="1479" y="708"/>
                    <a:pt x="1475" y="703"/>
                    <a:pt x="1476" y="694"/>
                  </a:cubicBezTo>
                  <a:cubicBezTo>
                    <a:pt x="1473" y="692"/>
                    <a:pt x="1469" y="691"/>
                    <a:pt x="1468" y="688"/>
                  </a:cubicBezTo>
                  <a:cubicBezTo>
                    <a:pt x="1471" y="685"/>
                    <a:pt x="1465" y="682"/>
                    <a:pt x="1465" y="680"/>
                  </a:cubicBezTo>
                  <a:cubicBezTo>
                    <a:pt x="1434" y="684"/>
                    <a:pt x="1406" y="677"/>
                    <a:pt x="1382" y="690"/>
                  </a:cubicBezTo>
                  <a:cubicBezTo>
                    <a:pt x="1382" y="694"/>
                    <a:pt x="1382" y="698"/>
                    <a:pt x="1379" y="699"/>
                  </a:cubicBezTo>
                  <a:cubicBezTo>
                    <a:pt x="1375" y="699"/>
                    <a:pt x="1366" y="699"/>
                    <a:pt x="1362" y="701"/>
                  </a:cubicBezTo>
                  <a:cubicBezTo>
                    <a:pt x="1361" y="708"/>
                    <a:pt x="1367" y="708"/>
                    <a:pt x="1368" y="714"/>
                  </a:cubicBezTo>
                  <a:cubicBezTo>
                    <a:pt x="1365" y="718"/>
                    <a:pt x="1361" y="719"/>
                    <a:pt x="1356" y="721"/>
                  </a:cubicBezTo>
                  <a:cubicBezTo>
                    <a:pt x="1355" y="729"/>
                    <a:pt x="1350" y="733"/>
                    <a:pt x="1343" y="729"/>
                  </a:cubicBezTo>
                  <a:cubicBezTo>
                    <a:pt x="1343" y="732"/>
                    <a:pt x="1343" y="735"/>
                    <a:pt x="1342" y="736"/>
                  </a:cubicBezTo>
                  <a:cubicBezTo>
                    <a:pt x="1334" y="737"/>
                    <a:pt x="1330" y="742"/>
                    <a:pt x="1328" y="749"/>
                  </a:cubicBezTo>
                  <a:cubicBezTo>
                    <a:pt x="1342" y="740"/>
                    <a:pt x="1361" y="759"/>
                    <a:pt x="1367" y="739"/>
                  </a:cubicBezTo>
                  <a:cubicBezTo>
                    <a:pt x="1372" y="739"/>
                    <a:pt x="1372" y="739"/>
                    <a:pt x="1372" y="739"/>
                  </a:cubicBezTo>
                  <a:cubicBezTo>
                    <a:pt x="1371" y="726"/>
                    <a:pt x="1388" y="734"/>
                    <a:pt x="1394" y="728"/>
                  </a:cubicBezTo>
                  <a:cubicBezTo>
                    <a:pt x="1395" y="733"/>
                    <a:pt x="1401" y="732"/>
                    <a:pt x="1400" y="740"/>
                  </a:cubicBezTo>
                  <a:cubicBezTo>
                    <a:pt x="1402" y="742"/>
                    <a:pt x="1408" y="741"/>
                    <a:pt x="1409" y="744"/>
                  </a:cubicBezTo>
                  <a:cubicBezTo>
                    <a:pt x="1407" y="746"/>
                    <a:pt x="1402" y="744"/>
                    <a:pt x="1402" y="748"/>
                  </a:cubicBezTo>
                  <a:cubicBezTo>
                    <a:pt x="1404" y="752"/>
                    <a:pt x="1406" y="754"/>
                    <a:pt x="1409" y="756"/>
                  </a:cubicBezTo>
                  <a:cubicBezTo>
                    <a:pt x="1415" y="753"/>
                    <a:pt x="1419" y="760"/>
                    <a:pt x="1424" y="760"/>
                  </a:cubicBezTo>
                  <a:cubicBezTo>
                    <a:pt x="1430" y="760"/>
                    <a:pt x="1432" y="755"/>
                    <a:pt x="1437" y="751"/>
                  </a:cubicBezTo>
                  <a:cubicBezTo>
                    <a:pt x="1442" y="756"/>
                    <a:pt x="1449" y="760"/>
                    <a:pt x="1456" y="763"/>
                  </a:cubicBezTo>
                  <a:cubicBezTo>
                    <a:pt x="1458" y="752"/>
                    <a:pt x="1452" y="749"/>
                    <a:pt x="1447" y="745"/>
                  </a:cubicBezTo>
                  <a:cubicBezTo>
                    <a:pt x="1450" y="740"/>
                    <a:pt x="1452" y="736"/>
                    <a:pt x="1454" y="728"/>
                  </a:cubicBezTo>
                  <a:cubicBezTo>
                    <a:pt x="1463" y="726"/>
                    <a:pt x="1476" y="721"/>
                    <a:pt x="1484" y="726"/>
                  </a:cubicBezTo>
                  <a:cubicBezTo>
                    <a:pt x="1488" y="722"/>
                    <a:pt x="1496" y="722"/>
                    <a:pt x="1499" y="719"/>
                  </a:cubicBezTo>
                  <a:cubicBezTo>
                    <a:pt x="1501" y="724"/>
                    <a:pt x="1500" y="731"/>
                    <a:pt x="1506" y="731"/>
                  </a:cubicBezTo>
                  <a:cubicBezTo>
                    <a:pt x="1506" y="722"/>
                    <a:pt x="1506" y="722"/>
                    <a:pt x="1506" y="722"/>
                  </a:cubicBezTo>
                  <a:cubicBezTo>
                    <a:pt x="1507" y="719"/>
                    <a:pt x="1514" y="722"/>
                    <a:pt x="1514" y="719"/>
                  </a:cubicBezTo>
                  <a:cubicBezTo>
                    <a:pt x="1510" y="713"/>
                    <a:pt x="1503" y="710"/>
                    <a:pt x="1497" y="705"/>
                  </a:cubicBezTo>
                  <a:cubicBezTo>
                    <a:pt x="1504" y="701"/>
                    <a:pt x="1507" y="712"/>
                    <a:pt x="1513" y="710"/>
                  </a:cubicBezTo>
                  <a:cubicBezTo>
                    <a:pt x="1515" y="710"/>
                    <a:pt x="1514" y="705"/>
                    <a:pt x="1516" y="704"/>
                  </a:cubicBezTo>
                  <a:cubicBezTo>
                    <a:pt x="1519" y="705"/>
                    <a:pt x="1521" y="707"/>
                    <a:pt x="1525" y="706"/>
                  </a:cubicBezTo>
                  <a:close/>
                  <a:moveTo>
                    <a:pt x="1262" y="683"/>
                  </a:moveTo>
                  <a:cubicBezTo>
                    <a:pt x="1262" y="689"/>
                    <a:pt x="1262" y="689"/>
                    <a:pt x="1262" y="689"/>
                  </a:cubicBezTo>
                  <a:cubicBezTo>
                    <a:pt x="1265" y="689"/>
                    <a:pt x="1267" y="687"/>
                    <a:pt x="1267" y="684"/>
                  </a:cubicBezTo>
                  <a:cubicBezTo>
                    <a:pt x="1266" y="683"/>
                    <a:pt x="1264" y="683"/>
                    <a:pt x="1262" y="683"/>
                  </a:cubicBezTo>
                  <a:close/>
                  <a:moveTo>
                    <a:pt x="1232" y="697"/>
                  </a:moveTo>
                  <a:cubicBezTo>
                    <a:pt x="1239" y="696"/>
                    <a:pt x="1246" y="694"/>
                    <a:pt x="1248" y="687"/>
                  </a:cubicBezTo>
                  <a:cubicBezTo>
                    <a:pt x="1241" y="688"/>
                    <a:pt x="1234" y="691"/>
                    <a:pt x="1232" y="697"/>
                  </a:cubicBezTo>
                  <a:close/>
                  <a:moveTo>
                    <a:pt x="196" y="694"/>
                  </a:moveTo>
                  <a:cubicBezTo>
                    <a:pt x="199" y="694"/>
                    <a:pt x="199" y="689"/>
                    <a:pt x="196" y="689"/>
                  </a:cubicBezTo>
                  <a:cubicBezTo>
                    <a:pt x="196" y="690"/>
                    <a:pt x="195" y="691"/>
                    <a:pt x="196" y="694"/>
                  </a:cubicBezTo>
                  <a:close/>
                  <a:moveTo>
                    <a:pt x="1222" y="693"/>
                  </a:moveTo>
                  <a:cubicBezTo>
                    <a:pt x="1217" y="695"/>
                    <a:pt x="1211" y="703"/>
                    <a:pt x="1214" y="706"/>
                  </a:cubicBezTo>
                  <a:cubicBezTo>
                    <a:pt x="1219" y="704"/>
                    <a:pt x="1226" y="700"/>
                    <a:pt x="1222" y="693"/>
                  </a:cubicBezTo>
                  <a:close/>
                  <a:moveTo>
                    <a:pt x="1604" y="812"/>
                  </a:moveTo>
                  <a:cubicBezTo>
                    <a:pt x="1609" y="805"/>
                    <a:pt x="1603" y="789"/>
                    <a:pt x="1609" y="781"/>
                  </a:cubicBezTo>
                  <a:cubicBezTo>
                    <a:pt x="1611" y="781"/>
                    <a:pt x="1609" y="785"/>
                    <a:pt x="1612" y="784"/>
                  </a:cubicBezTo>
                  <a:cubicBezTo>
                    <a:pt x="1615" y="776"/>
                    <a:pt x="1615" y="767"/>
                    <a:pt x="1611" y="762"/>
                  </a:cubicBezTo>
                  <a:cubicBezTo>
                    <a:pt x="1616" y="746"/>
                    <a:pt x="1609" y="726"/>
                    <a:pt x="1604" y="712"/>
                  </a:cubicBezTo>
                  <a:cubicBezTo>
                    <a:pt x="1594" y="717"/>
                    <a:pt x="1588" y="707"/>
                    <a:pt x="1581" y="704"/>
                  </a:cubicBezTo>
                  <a:cubicBezTo>
                    <a:pt x="1580" y="699"/>
                    <a:pt x="1575" y="693"/>
                    <a:pt x="1571" y="694"/>
                  </a:cubicBezTo>
                  <a:cubicBezTo>
                    <a:pt x="1574" y="703"/>
                    <a:pt x="1577" y="714"/>
                    <a:pt x="1587" y="718"/>
                  </a:cubicBezTo>
                  <a:cubicBezTo>
                    <a:pt x="1589" y="719"/>
                    <a:pt x="1592" y="716"/>
                    <a:pt x="1595" y="718"/>
                  </a:cubicBezTo>
                  <a:cubicBezTo>
                    <a:pt x="1597" y="718"/>
                    <a:pt x="1597" y="722"/>
                    <a:pt x="1598" y="723"/>
                  </a:cubicBezTo>
                  <a:cubicBezTo>
                    <a:pt x="1601" y="726"/>
                    <a:pt x="1604" y="724"/>
                    <a:pt x="1607" y="726"/>
                  </a:cubicBezTo>
                  <a:cubicBezTo>
                    <a:pt x="1607" y="731"/>
                    <a:pt x="1608" y="735"/>
                    <a:pt x="1608" y="741"/>
                  </a:cubicBezTo>
                  <a:cubicBezTo>
                    <a:pt x="1602" y="739"/>
                    <a:pt x="1602" y="743"/>
                    <a:pt x="1600" y="744"/>
                  </a:cubicBezTo>
                  <a:cubicBezTo>
                    <a:pt x="1598" y="736"/>
                    <a:pt x="1591" y="728"/>
                    <a:pt x="1586" y="726"/>
                  </a:cubicBezTo>
                  <a:cubicBezTo>
                    <a:pt x="1585" y="734"/>
                    <a:pt x="1593" y="741"/>
                    <a:pt x="1594" y="749"/>
                  </a:cubicBezTo>
                  <a:cubicBezTo>
                    <a:pt x="1592" y="748"/>
                    <a:pt x="1592" y="751"/>
                    <a:pt x="1589" y="750"/>
                  </a:cubicBezTo>
                  <a:cubicBezTo>
                    <a:pt x="1592" y="760"/>
                    <a:pt x="1582" y="760"/>
                    <a:pt x="1587" y="769"/>
                  </a:cubicBezTo>
                  <a:cubicBezTo>
                    <a:pt x="1583" y="774"/>
                    <a:pt x="1576" y="775"/>
                    <a:pt x="1578" y="785"/>
                  </a:cubicBezTo>
                  <a:cubicBezTo>
                    <a:pt x="1583" y="786"/>
                    <a:pt x="1581" y="791"/>
                    <a:pt x="1581" y="796"/>
                  </a:cubicBezTo>
                  <a:cubicBezTo>
                    <a:pt x="1583" y="797"/>
                    <a:pt x="1585" y="798"/>
                    <a:pt x="1587" y="799"/>
                  </a:cubicBezTo>
                  <a:cubicBezTo>
                    <a:pt x="1592" y="786"/>
                    <a:pt x="1596" y="772"/>
                    <a:pt x="1603" y="760"/>
                  </a:cubicBezTo>
                  <a:cubicBezTo>
                    <a:pt x="1603" y="772"/>
                    <a:pt x="1592" y="808"/>
                    <a:pt x="1604" y="812"/>
                  </a:cubicBezTo>
                  <a:close/>
                  <a:moveTo>
                    <a:pt x="187" y="697"/>
                  </a:moveTo>
                  <a:cubicBezTo>
                    <a:pt x="188" y="698"/>
                    <a:pt x="189" y="699"/>
                    <a:pt x="191" y="698"/>
                  </a:cubicBezTo>
                  <a:cubicBezTo>
                    <a:pt x="191" y="696"/>
                    <a:pt x="190" y="695"/>
                    <a:pt x="189" y="695"/>
                  </a:cubicBezTo>
                  <a:cubicBezTo>
                    <a:pt x="189" y="696"/>
                    <a:pt x="187" y="696"/>
                    <a:pt x="187" y="697"/>
                  </a:cubicBezTo>
                  <a:close/>
                  <a:moveTo>
                    <a:pt x="1253" y="697"/>
                  </a:moveTo>
                  <a:cubicBezTo>
                    <a:pt x="1252" y="701"/>
                    <a:pt x="1256" y="700"/>
                    <a:pt x="1255" y="703"/>
                  </a:cubicBezTo>
                  <a:cubicBezTo>
                    <a:pt x="1252" y="703"/>
                    <a:pt x="1251" y="704"/>
                    <a:pt x="1251" y="707"/>
                  </a:cubicBezTo>
                  <a:cubicBezTo>
                    <a:pt x="1258" y="709"/>
                    <a:pt x="1257" y="698"/>
                    <a:pt x="1266" y="700"/>
                  </a:cubicBezTo>
                  <a:cubicBezTo>
                    <a:pt x="1264" y="693"/>
                    <a:pt x="1259" y="700"/>
                    <a:pt x="1253" y="697"/>
                  </a:cubicBezTo>
                  <a:close/>
                  <a:moveTo>
                    <a:pt x="1692" y="805"/>
                  </a:moveTo>
                  <a:cubicBezTo>
                    <a:pt x="1700" y="797"/>
                    <a:pt x="1701" y="784"/>
                    <a:pt x="1703" y="769"/>
                  </a:cubicBezTo>
                  <a:cubicBezTo>
                    <a:pt x="1705" y="747"/>
                    <a:pt x="1704" y="720"/>
                    <a:pt x="1701" y="701"/>
                  </a:cubicBezTo>
                  <a:cubicBezTo>
                    <a:pt x="1701" y="715"/>
                    <a:pt x="1702" y="730"/>
                    <a:pt x="1700" y="742"/>
                  </a:cubicBezTo>
                  <a:cubicBezTo>
                    <a:pt x="1700" y="740"/>
                    <a:pt x="1700" y="739"/>
                    <a:pt x="1699" y="739"/>
                  </a:cubicBezTo>
                  <a:cubicBezTo>
                    <a:pt x="1700" y="744"/>
                    <a:pt x="1695" y="747"/>
                    <a:pt x="1694" y="752"/>
                  </a:cubicBezTo>
                  <a:cubicBezTo>
                    <a:pt x="1692" y="762"/>
                    <a:pt x="1695" y="773"/>
                    <a:pt x="1693" y="784"/>
                  </a:cubicBezTo>
                  <a:cubicBezTo>
                    <a:pt x="1691" y="792"/>
                    <a:pt x="1685" y="799"/>
                    <a:pt x="1692" y="805"/>
                  </a:cubicBezTo>
                  <a:close/>
                  <a:moveTo>
                    <a:pt x="1234" y="706"/>
                  </a:moveTo>
                  <a:cubicBezTo>
                    <a:pt x="1230" y="704"/>
                    <a:pt x="1222" y="705"/>
                    <a:pt x="1221" y="710"/>
                  </a:cubicBezTo>
                  <a:cubicBezTo>
                    <a:pt x="1223" y="714"/>
                    <a:pt x="1229" y="712"/>
                    <a:pt x="1233" y="711"/>
                  </a:cubicBezTo>
                  <a:cubicBezTo>
                    <a:pt x="1233" y="709"/>
                    <a:pt x="1235" y="709"/>
                    <a:pt x="1234" y="706"/>
                  </a:cubicBezTo>
                  <a:close/>
                  <a:moveTo>
                    <a:pt x="1204" y="718"/>
                  </a:moveTo>
                  <a:cubicBezTo>
                    <a:pt x="1206" y="723"/>
                    <a:pt x="1213" y="718"/>
                    <a:pt x="1213" y="714"/>
                  </a:cubicBezTo>
                  <a:cubicBezTo>
                    <a:pt x="1209" y="714"/>
                    <a:pt x="1205" y="714"/>
                    <a:pt x="1204" y="718"/>
                  </a:cubicBezTo>
                  <a:close/>
                  <a:moveTo>
                    <a:pt x="1531" y="737"/>
                  </a:moveTo>
                  <a:cubicBezTo>
                    <a:pt x="1532" y="736"/>
                    <a:pt x="1531" y="733"/>
                    <a:pt x="1533" y="733"/>
                  </a:cubicBezTo>
                  <a:cubicBezTo>
                    <a:pt x="1535" y="736"/>
                    <a:pt x="1540" y="738"/>
                    <a:pt x="1541" y="742"/>
                  </a:cubicBezTo>
                  <a:cubicBezTo>
                    <a:pt x="1542" y="739"/>
                    <a:pt x="1543" y="742"/>
                    <a:pt x="1545" y="742"/>
                  </a:cubicBezTo>
                  <a:cubicBezTo>
                    <a:pt x="1549" y="732"/>
                    <a:pt x="1537" y="730"/>
                    <a:pt x="1535" y="723"/>
                  </a:cubicBezTo>
                  <a:cubicBezTo>
                    <a:pt x="1536" y="722"/>
                    <a:pt x="1537" y="721"/>
                    <a:pt x="1537" y="718"/>
                  </a:cubicBezTo>
                  <a:cubicBezTo>
                    <a:pt x="1533" y="717"/>
                    <a:pt x="1532" y="715"/>
                    <a:pt x="1529" y="715"/>
                  </a:cubicBezTo>
                  <a:cubicBezTo>
                    <a:pt x="1528" y="720"/>
                    <a:pt x="1533" y="721"/>
                    <a:pt x="1533" y="725"/>
                  </a:cubicBezTo>
                  <a:cubicBezTo>
                    <a:pt x="1530" y="725"/>
                    <a:pt x="1527" y="726"/>
                    <a:pt x="1525" y="726"/>
                  </a:cubicBezTo>
                  <a:cubicBezTo>
                    <a:pt x="1526" y="731"/>
                    <a:pt x="1521" y="730"/>
                    <a:pt x="1522" y="736"/>
                  </a:cubicBezTo>
                  <a:cubicBezTo>
                    <a:pt x="1526" y="735"/>
                    <a:pt x="1528" y="735"/>
                    <a:pt x="1531" y="737"/>
                  </a:cubicBezTo>
                  <a:close/>
                  <a:moveTo>
                    <a:pt x="1564" y="733"/>
                  </a:moveTo>
                  <a:cubicBezTo>
                    <a:pt x="1568" y="735"/>
                    <a:pt x="1571" y="742"/>
                    <a:pt x="1577" y="739"/>
                  </a:cubicBezTo>
                  <a:cubicBezTo>
                    <a:pt x="1576" y="734"/>
                    <a:pt x="1567" y="732"/>
                    <a:pt x="1564" y="733"/>
                  </a:cubicBezTo>
                  <a:close/>
                  <a:moveTo>
                    <a:pt x="1586" y="743"/>
                  </a:moveTo>
                  <a:cubicBezTo>
                    <a:pt x="1588" y="741"/>
                    <a:pt x="1585" y="738"/>
                    <a:pt x="1583" y="738"/>
                  </a:cubicBezTo>
                  <a:cubicBezTo>
                    <a:pt x="1583" y="741"/>
                    <a:pt x="1582" y="744"/>
                    <a:pt x="1586" y="743"/>
                  </a:cubicBezTo>
                  <a:close/>
                  <a:moveTo>
                    <a:pt x="1490" y="759"/>
                  </a:moveTo>
                  <a:cubicBezTo>
                    <a:pt x="1492" y="752"/>
                    <a:pt x="1491" y="747"/>
                    <a:pt x="1489" y="741"/>
                  </a:cubicBezTo>
                  <a:cubicBezTo>
                    <a:pt x="1486" y="741"/>
                    <a:pt x="1486" y="741"/>
                    <a:pt x="1486" y="741"/>
                  </a:cubicBezTo>
                  <a:cubicBezTo>
                    <a:pt x="1490" y="746"/>
                    <a:pt x="1484" y="755"/>
                    <a:pt x="1490" y="759"/>
                  </a:cubicBezTo>
                  <a:close/>
                  <a:moveTo>
                    <a:pt x="1559" y="743"/>
                  </a:moveTo>
                  <a:cubicBezTo>
                    <a:pt x="1551" y="740"/>
                    <a:pt x="1551" y="749"/>
                    <a:pt x="1554" y="752"/>
                  </a:cubicBezTo>
                  <a:cubicBezTo>
                    <a:pt x="1556" y="752"/>
                    <a:pt x="1557" y="752"/>
                    <a:pt x="1559" y="752"/>
                  </a:cubicBezTo>
                  <a:cubicBezTo>
                    <a:pt x="1561" y="749"/>
                    <a:pt x="1560" y="747"/>
                    <a:pt x="1559" y="743"/>
                  </a:cubicBezTo>
                  <a:close/>
                  <a:moveTo>
                    <a:pt x="1676" y="743"/>
                  </a:moveTo>
                  <a:cubicBezTo>
                    <a:pt x="1676" y="746"/>
                    <a:pt x="1675" y="749"/>
                    <a:pt x="1678" y="749"/>
                  </a:cubicBezTo>
                  <a:cubicBezTo>
                    <a:pt x="1677" y="747"/>
                    <a:pt x="1679" y="743"/>
                    <a:pt x="1676" y="743"/>
                  </a:cubicBezTo>
                  <a:close/>
                  <a:moveTo>
                    <a:pt x="1012" y="752"/>
                  </a:moveTo>
                  <a:cubicBezTo>
                    <a:pt x="1012" y="761"/>
                    <a:pt x="1021" y="761"/>
                    <a:pt x="1029" y="763"/>
                  </a:cubicBezTo>
                  <a:cubicBezTo>
                    <a:pt x="1027" y="755"/>
                    <a:pt x="1019" y="754"/>
                    <a:pt x="1012" y="752"/>
                  </a:cubicBezTo>
                  <a:close/>
                  <a:moveTo>
                    <a:pt x="1031" y="767"/>
                  </a:moveTo>
                  <a:cubicBezTo>
                    <a:pt x="1025" y="778"/>
                    <a:pt x="1040" y="782"/>
                    <a:pt x="1046" y="776"/>
                  </a:cubicBezTo>
                  <a:cubicBezTo>
                    <a:pt x="1045" y="769"/>
                    <a:pt x="1039" y="767"/>
                    <a:pt x="1031" y="767"/>
                  </a:cubicBezTo>
                  <a:close/>
                  <a:moveTo>
                    <a:pt x="1581" y="1055"/>
                  </a:moveTo>
                  <a:cubicBezTo>
                    <a:pt x="1581" y="1036"/>
                    <a:pt x="1576" y="1014"/>
                    <a:pt x="1569" y="999"/>
                  </a:cubicBezTo>
                  <a:cubicBezTo>
                    <a:pt x="1556" y="993"/>
                    <a:pt x="1559" y="974"/>
                    <a:pt x="1555" y="960"/>
                  </a:cubicBezTo>
                  <a:cubicBezTo>
                    <a:pt x="1564" y="957"/>
                    <a:pt x="1561" y="938"/>
                    <a:pt x="1557" y="932"/>
                  </a:cubicBezTo>
                  <a:cubicBezTo>
                    <a:pt x="1555" y="935"/>
                    <a:pt x="1552" y="938"/>
                    <a:pt x="1550" y="941"/>
                  </a:cubicBezTo>
                  <a:cubicBezTo>
                    <a:pt x="1548" y="936"/>
                    <a:pt x="1554" y="933"/>
                    <a:pt x="1555" y="928"/>
                  </a:cubicBezTo>
                  <a:cubicBezTo>
                    <a:pt x="1552" y="925"/>
                    <a:pt x="1547" y="924"/>
                    <a:pt x="1546" y="919"/>
                  </a:cubicBezTo>
                  <a:cubicBezTo>
                    <a:pt x="1551" y="919"/>
                    <a:pt x="1548" y="912"/>
                    <a:pt x="1550" y="910"/>
                  </a:cubicBezTo>
                  <a:cubicBezTo>
                    <a:pt x="1549" y="908"/>
                    <a:pt x="1546" y="909"/>
                    <a:pt x="1546" y="908"/>
                  </a:cubicBezTo>
                  <a:cubicBezTo>
                    <a:pt x="1548" y="903"/>
                    <a:pt x="1547" y="896"/>
                    <a:pt x="1542" y="895"/>
                  </a:cubicBezTo>
                  <a:cubicBezTo>
                    <a:pt x="1544" y="888"/>
                    <a:pt x="1540" y="879"/>
                    <a:pt x="1537" y="874"/>
                  </a:cubicBezTo>
                  <a:cubicBezTo>
                    <a:pt x="1532" y="875"/>
                    <a:pt x="1535" y="884"/>
                    <a:pt x="1527" y="882"/>
                  </a:cubicBezTo>
                  <a:cubicBezTo>
                    <a:pt x="1524" y="885"/>
                    <a:pt x="1525" y="892"/>
                    <a:pt x="1523" y="896"/>
                  </a:cubicBezTo>
                  <a:cubicBezTo>
                    <a:pt x="1524" y="891"/>
                    <a:pt x="1522" y="889"/>
                    <a:pt x="1522" y="885"/>
                  </a:cubicBezTo>
                  <a:cubicBezTo>
                    <a:pt x="1517" y="887"/>
                    <a:pt x="1514" y="882"/>
                    <a:pt x="1512" y="879"/>
                  </a:cubicBezTo>
                  <a:cubicBezTo>
                    <a:pt x="1514" y="878"/>
                    <a:pt x="1517" y="878"/>
                    <a:pt x="1518" y="877"/>
                  </a:cubicBezTo>
                  <a:cubicBezTo>
                    <a:pt x="1521" y="869"/>
                    <a:pt x="1518" y="865"/>
                    <a:pt x="1515" y="860"/>
                  </a:cubicBezTo>
                  <a:cubicBezTo>
                    <a:pt x="1523" y="842"/>
                    <a:pt x="1502" y="838"/>
                    <a:pt x="1497" y="827"/>
                  </a:cubicBezTo>
                  <a:cubicBezTo>
                    <a:pt x="1500" y="828"/>
                    <a:pt x="1502" y="830"/>
                    <a:pt x="1507" y="829"/>
                  </a:cubicBezTo>
                  <a:cubicBezTo>
                    <a:pt x="1507" y="826"/>
                    <a:pt x="1507" y="824"/>
                    <a:pt x="1506" y="821"/>
                  </a:cubicBezTo>
                  <a:cubicBezTo>
                    <a:pt x="1502" y="822"/>
                    <a:pt x="1501" y="820"/>
                    <a:pt x="1498" y="819"/>
                  </a:cubicBezTo>
                  <a:cubicBezTo>
                    <a:pt x="1496" y="819"/>
                    <a:pt x="1497" y="823"/>
                    <a:pt x="1494" y="822"/>
                  </a:cubicBezTo>
                  <a:cubicBezTo>
                    <a:pt x="1484" y="819"/>
                    <a:pt x="1477" y="823"/>
                    <a:pt x="1469" y="817"/>
                  </a:cubicBezTo>
                  <a:cubicBezTo>
                    <a:pt x="1465" y="814"/>
                    <a:pt x="1464" y="808"/>
                    <a:pt x="1458" y="814"/>
                  </a:cubicBezTo>
                  <a:cubicBezTo>
                    <a:pt x="1457" y="820"/>
                    <a:pt x="1461" y="821"/>
                    <a:pt x="1460" y="828"/>
                  </a:cubicBezTo>
                  <a:cubicBezTo>
                    <a:pt x="1461" y="830"/>
                    <a:pt x="1466" y="829"/>
                    <a:pt x="1466" y="833"/>
                  </a:cubicBezTo>
                  <a:cubicBezTo>
                    <a:pt x="1462" y="840"/>
                    <a:pt x="1468" y="844"/>
                    <a:pt x="1466" y="854"/>
                  </a:cubicBezTo>
                  <a:cubicBezTo>
                    <a:pt x="1456" y="857"/>
                    <a:pt x="1451" y="864"/>
                    <a:pt x="1436" y="862"/>
                  </a:cubicBezTo>
                  <a:cubicBezTo>
                    <a:pt x="1433" y="864"/>
                    <a:pt x="1431" y="868"/>
                    <a:pt x="1426" y="869"/>
                  </a:cubicBezTo>
                  <a:cubicBezTo>
                    <a:pt x="1418" y="865"/>
                    <a:pt x="1419" y="861"/>
                    <a:pt x="1418" y="851"/>
                  </a:cubicBezTo>
                  <a:cubicBezTo>
                    <a:pt x="1415" y="830"/>
                    <a:pt x="1420" y="808"/>
                    <a:pt x="1416" y="790"/>
                  </a:cubicBezTo>
                  <a:cubicBezTo>
                    <a:pt x="1416" y="787"/>
                    <a:pt x="1418" y="786"/>
                    <a:pt x="1419" y="783"/>
                  </a:cubicBezTo>
                  <a:cubicBezTo>
                    <a:pt x="1416" y="778"/>
                    <a:pt x="1412" y="769"/>
                    <a:pt x="1405" y="776"/>
                  </a:cubicBezTo>
                  <a:cubicBezTo>
                    <a:pt x="1404" y="786"/>
                    <a:pt x="1396" y="797"/>
                    <a:pt x="1394" y="809"/>
                  </a:cubicBezTo>
                  <a:cubicBezTo>
                    <a:pt x="1391" y="804"/>
                    <a:pt x="1388" y="808"/>
                    <a:pt x="1382" y="808"/>
                  </a:cubicBezTo>
                  <a:cubicBezTo>
                    <a:pt x="1377" y="812"/>
                    <a:pt x="1380" y="819"/>
                    <a:pt x="1378" y="826"/>
                  </a:cubicBezTo>
                  <a:cubicBezTo>
                    <a:pt x="1377" y="832"/>
                    <a:pt x="1370" y="835"/>
                    <a:pt x="1369" y="840"/>
                  </a:cubicBezTo>
                  <a:cubicBezTo>
                    <a:pt x="1366" y="851"/>
                    <a:pt x="1369" y="858"/>
                    <a:pt x="1360" y="862"/>
                  </a:cubicBezTo>
                  <a:cubicBezTo>
                    <a:pt x="1353" y="864"/>
                    <a:pt x="1349" y="860"/>
                    <a:pt x="1342" y="866"/>
                  </a:cubicBezTo>
                  <a:cubicBezTo>
                    <a:pt x="1342" y="871"/>
                    <a:pt x="1340" y="871"/>
                    <a:pt x="1342" y="874"/>
                  </a:cubicBezTo>
                  <a:cubicBezTo>
                    <a:pt x="1340" y="876"/>
                    <a:pt x="1337" y="876"/>
                    <a:pt x="1335" y="877"/>
                  </a:cubicBezTo>
                  <a:cubicBezTo>
                    <a:pt x="1334" y="880"/>
                    <a:pt x="1334" y="884"/>
                    <a:pt x="1334" y="887"/>
                  </a:cubicBezTo>
                  <a:cubicBezTo>
                    <a:pt x="1331" y="881"/>
                    <a:pt x="1326" y="888"/>
                    <a:pt x="1322" y="888"/>
                  </a:cubicBezTo>
                  <a:cubicBezTo>
                    <a:pt x="1321" y="893"/>
                    <a:pt x="1324" y="894"/>
                    <a:pt x="1325" y="896"/>
                  </a:cubicBezTo>
                  <a:cubicBezTo>
                    <a:pt x="1319" y="898"/>
                    <a:pt x="1319" y="906"/>
                    <a:pt x="1311" y="907"/>
                  </a:cubicBezTo>
                  <a:cubicBezTo>
                    <a:pt x="1310" y="909"/>
                    <a:pt x="1309" y="912"/>
                    <a:pt x="1308" y="915"/>
                  </a:cubicBezTo>
                  <a:cubicBezTo>
                    <a:pt x="1305" y="915"/>
                    <a:pt x="1304" y="917"/>
                    <a:pt x="1302" y="917"/>
                  </a:cubicBezTo>
                  <a:cubicBezTo>
                    <a:pt x="1297" y="923"/>
                    <a:pt x="1300" y="933"/>
                    <a:pt x="1299" y="942"/>
                  </a:cubicBezTo>
                  <a:cubicBezTo>
                    <a:pt x="1298" y="946"/>
                    <a:pt x="1294" y="949"/>
                    <a:pt x="1294" y="953"/>
                  </a:cubicBezTo>
                  <a:cubicBezTo>
                    <a:pt x="1293" y="960"/>
                    <a:pt x="1297" y="971"/>
                    <a:pt x="1298" y="983"/>
                  </a:cubicBezTo>
                  <a:cubicBezTo>
                    <a:pt x="1298" y="992"/>
                    <a:pt x="1297" y="1002"/>
                    <a:pt x="1300" y="1008"/>
                  </a:cubicBezTo>
                  <a:cubicBezTo>
                    <a:pt x="1301" y="1011"/>
                    <a:pt x="1304" y="1012"/>
                    <a:pt x="1305" y="1014"/>
                  </a:cubicBezTo>
                  <a:cubicBezTo>
                    <a:pt x="1302" y="1024"/>
                    <a:pt x="1309" y="1029"/>
                    <a:pt x="1309" y="1038"/>
                  </a:cubicBezTo>
                  <a:cubicBezTo>
                    <a:pt x="1309" y="1039"/>
                    <a:pt x="1307" y="1042"/>
                    <a:pt x="1307" y="1043"/>
                  </a:cubicBezTo>
                  <a:cubicBezTo>
                    <a:pt x="1306" y="1051"/>
                    <a:pt x="1310" y="1059"/>
                    <a:pt x="1310" y="1066"/>
                  </a:cubicBezTo>
                  <a:cubicBezTo>
                    <a:pt x="1310" y="1071"/>
                    <a:pt x="1306" y="1075"/>
                    <a:pt x="1307" y="1080"/>
                  </a:cubicBezTo>
                  <a:cubicBezTo>
                    <a:pt x="1308" y="1085"/>
                    <a:pt x="1315" y="1089"/>
                    <a:pt x="1320" y="1089"/>
                  </a:cubicBezTo>
                  <a:cubicBezTo>
                    <a:pt x="1319" y="1099"/>
                    <a:pt x="1324" y="1104"/>
                    <a:pt x="1325" y="1112"/>
                  </a:cubicBezTo>
                  <a:cubicBezTo>
                    <a:pt x="1333" y="1111"/>
                    <a:pt x="1334" y="1105"/>
                    <a:pt x="1340" y="1103"/>
                  </a:cubicBezTo>
                  <a:cubicBezTo>
                    <a:pt x="1339" y="1107"/>
                    <a:pt x="1340" y="1114"/>
                    <a:pt x="1344" y="1119"/>
                  </a:cubicBezTo>
                  <a:cubicBezTo>
                    <a:pt x="1350" y="1118"/>
                    <a:pt x="1354" y="1117"/>
                    <a:pt x="1357" y="1122"/>
                  </a:cubicBezTo>
                  <a:cubicBezTo>
                    <a:pt x="1362" y="1119"/>
                    <a:pt x="1370" y="1120"/>
                    <a:pt x="1374" y="1116"/>
                  </a:cubicBezTo>
                  <a:cubicBezTo>
                    <a:pt x="1376" y="1113"/>
                    <a:pt x="1374" y="1110"/>
                    <a:pt x="1374" y="1105"/>
                  </a:cubicBezTo>
                  <a:cubicBezTo>
                    <a:pt x="1377" y="1102"/>
                    <a:pt x="1382" y="1100"/>
                    <a:pt x="1383" y="1095"/>
                  </a:cubicBezTo>
                  <a:cubicBezTo>
                    <a:pt x="1385" y="1095"/>
                    <a:pt x="1387" y="1096"/>
                    <a:pt x="1390" y="1096"/>
                  </a:cubicBezTo>
                  <a:cubicBezTo>
                    <a:pt x="1392" y="1092"/>
                    <a:pt x="1388" y="1082"/>
                    <a:pt x="1396" y="1083"/>
                  </a:cubicBezTo>
                  <a:cubicBezTo>
                    <a:pt x="1393" y="1089"/>
                    <a:pt x="1393" y="1098"/>
                    <a:pt x="1400" y="1098"/>
                  </a:cubicBezTo>
                  <a:cubicBezTo>
                    <a:pt x="1398" y="1083"/>
                    <a:pt x="1403" y="1071"/>
                    <a:pt x="1400" y="1061"/>
                  </a:cubicBezTo>
                  <a:cubicBezTo>
                    <a:pt x="1409" y="1068"/>
                    <a:pt x="1402" y="1082"/>
                    <a:pt x="1408" y="1092"/>
                  </a:cubicBezTo>
                  <a:cubicBezTo>
                    <a:pt x="1407" y="1095"/>
                    <a:pt x="1403" y="1097"/>
                    <a:pt x="1405" y="1101"/>
                  </a:cubicBezTo>
                  <a:cubicBezTo>
                    <a:pt x="1410" y="1101"/>
                    <a:pt x="1411" y="1101"/>
                    <a:pt x="1414" y="1099"/>
                  </a:cubicBezTo>
                  <a:cubicBezTo>
                    <a:pt x="1409" y="1091"/>
                    <a:pt x="1420" y="1086"/>
                    <a:pt x="1425" y="1085"/>
                  </a:cubicBezTo>
                  <a:cubicBezTo>
                    <a:pt x="1426" y="1082"/>
                    <a:pt x="1425" y="1079"/>
                    <a:pt x="1427" y="1076"/>
                  </a:cubicBezTo>
                  <a:cubicBezTo>
                    <a:pt x="1435" y="1075"/>
                    <a:pt x="1440" y="1076"/>
                    <a:pt x="1447" y="1075"/>
                  </a:cubicBezTo>
                  <a:cubicBezTo>
                    <a:pt x="1456" y="1082"/>
                    <a:pt x="1462" y="1092"/>
                    <a:pt x="1465" y="1105"/>
                  </a:cubicBezTo>
                  <a:cubicBezTo>
                    <a:pt x="1473" y="1104"/>
                    <a:pt x="1471" y="1113"/>
                    <a:pt x="1473" y="1118"/>
                  </a:cubicBezTo>
                  <a:cubicBezTo>
                    <a:pt x="1475" y="1122"/>
                    <a:pt x="1479" y="1122"/>
                    <a:pt x="1479" y="1126"/>
                  </a:cubicBezTo>
                  <a:cubicBezTo>
                    <a:pt x="1480" y="1132"/>
                    <a:pt x="1473" y="1139"/>
                    <a:pt x="1475" y="1146"/>
                  </a:cubicBezTo>
                  <a:cubicBezTo>
                    <a:pt x="1481" y="1150"/>
                    <a:pt x="1484" y="1156"/>
                    <a:pt x="1486" y="1164"/>
                  </a:cubicBezTo>
                  <a:cubicBezTo>
                    <a:pt x="1486" y="1166"/>
                    <a:pt x="1491" y="1164"/>
                    <a:pt x="1491" y="1167"/>
                  </a:cubicBezTo>
                  <a:cubicBezTo>
                    <a:pt x="1490" y="1178"/>
                    <a:pt x="1489" y="1185"/>
                    <a:pt x="1492" y="1195"/>
                  </a:cubicBezTo>
                  <a:cubicBezTo>
                    <a:pt x="1495" y="1195"/>
                    <a:pt x="1499" y="1197"/>
                    <a:pt x="1506" y="1198"/>
                  </a:cubicBezTo>
                  <a:cubicBezTo>
                    <a:pt x="1510" y="1193"/>
                    <a:pt x="1509" y="1192"/>
                    <a:pt x="1508" y="1185"/>
                  </a:cubicBezTo>
                  <a:cubicBezTo>
                    <a:pt x="1514" y="1178"/>
                    <a:pt x="1514" y="1168"/>
                    <a:pt x="1520" y="1161"/>
                  </a:cubicBezTo>
                  <a:cubicBezTo>
                    <a:pt x="1523" y="1159"/>
                    <a:pt x="1527" y="1158"/>
                    <a:pt x="1530" y="1155"/>
                  </a:cubicBezTo>
                  <a:cubicBezTo>
                    <a:pt x="1531" y="1154"/>
                    <a:pt x="1530" y="1152"/>
                    <a:pt x="1531" y="1150"/>
                  </a:cubicBezTo>
                  <a:cubicBezTo>
                    <a:pt x="1532" y="1148"/>
                    <a:pt x="1536" y="1145"/>
                    <a:pt x="1539" y="1142"/>
                  </a:cubicBezTo>
                  <a:cubicBezTo>
                    <a:pt x="1544" y="1134"/>
                    <a:pt x="1542" y="1131"/>
                    <a:pt x="1550" y="1129"/>
                  </a:cubicBezTo>
                  <a:cubicBezTo>
                    <a:pt x="1552" y="1117"/>
                    <a:pt x="1566" y="1116"/>
                    <a:pt x="1565" y="1102"/>
                  </a:cubicBezTo>
                  <a:cubicBezTo>
                    <a:pt x="1563" y="1101"/>
                    <a:pt x="1561" y="1105"/>
                    <a:pt x="1561" y="1103"/>
                  </a:cubicBezTo>
                  <a:cubicBezTo>
                    <a:pt x="1566" y="1095"/>
                    <a:pt x="1575" y="1091"/>
                    <a:pt x="1574" y="1078"/>
                  </a:cubicBezTo>
                  <a:cubicBezTo>
                    <a:pt x="1581" y="1073"/>
                    <a:pt x="1583" y="1059"/>
                    <a:pt x="1583" y="1051"/>
                  </a:cubicBezTo>
                  <a:cubicBezTo>
                    <a:pt x="1581" y="1051"/>
                    <a:pt x="1583" y="1054"/>
                    <a:pt x="1581" y="1055"/>
                  </a:cubicBezTo>
                  <a:close/>
                  <a:moveTo>
                    <a:pt x="1508" y="774"/>
                  </a:moveTo>
                  <a:cubicBezTo>
                    <a:pt x="1505" y="780"/>
                    <a:pt x="1512" y="784"/>
                    <a:pt x="1516" y="787"/>
                  </a:cubicBezTo>
                  <a:cubicBezTo>
                    <a:pt x="1516" y="780"/>
                    <a:pt x="1513" y="776"/>
                    <a:pt x="1508" y="774"/>
                  </a:cubicBezTo>
                  <a:close/>
                  <a:moveTo>
                    <a:pt x="1706" y="787"/>
                  </a:moveTo>
                  <a:cubicBezTo>
                    <a:pt x="1705" y="795"/>
                    <a:pt x="1703" y="802"/>
                    <a:pt x="1700" y="808"/>
                  </a:cubicBezTo>
                  <a:cubicBezTo>
                    <a:pt x="1697" y="806"/>
                    <a:pt x="1698" y="806"/>
                    <a:pt x="1696" y="803"/>
                  </a:cubicBezTo>
                  <a:cubicBezTo>
                    <a:pt x="1697" y="809"/>
                    <a:pt x="1694" y="820"/>
                    <a:pt x="1690" y="816"/>
                  </a:cubicBezTo>
                  <a:cubicBezTo>
                    <a:pt x="1691" y="824"/>
                    <a:pt x="1689" y="828"/>
                    <a:pt x="1689" y="835"/>
                  </a:cubicBezTo>
                  <a:cubicBezTo>
                    <a:pt x="1687" y="834"/>
                    <a:pt x="1687" y="832"/>
                    <a:pt x="1685" y="832"/>
                  </a:cubicBezTo>
                  <a:cubicBezTo>
                    <a:pt x="1684" y="835"/>
                    <a:pt x="1685" y="839"/>
                    <a:pt x="1683" y="840"/>
                  </a:cubicBezTo>
                  <a:cubicBezTo>
                    <a:pt x="1681" y="837"/>
                    <a:pt x="1683" y="829"/>
                    <a:pt x="1680" y="827"/>
                  </a:cubicBezTo>
                  <a:cubicBezTo>
                    <a:pt x="1677" y="832"/>
                    <a:pt x="1673" y="839"/>
                    <a:pt x="1675" y="845"/>
                  </a:cubicBezTo>
                  <a:cubicBezTo>
                    <a:pt x="1677" y="846"/>
                    <a:pt x="1678" y="842"/>
                    <a:pt x="1679" y="845"/>
                  </a:cubicBezTo>
                  <a:cubicBezTo>
                    <a:pt x="1674" y="855"/>
                    <a:pt x="1676" y="872"/>
                    <a:pt x="1671" y="885"/>
                  </a:cubicBezTo>
                  <a:cubicBezTo>
                    <a:pt x="1670" y="880"/>
                    <a:pt x="1664" y="879"/>
                    <a:pt x="1661" y="875"/>
                  </a:cubicBezTo>
                  <a:cubicBezTo>
                    <a:pt x="1660" y="877"/>
                    <a:pt x="1659" y="879"/>
                    <a:pt x="1657" y="880"/>
                  </a:cubicBezTo>
                  <a:cubicBezTo>
                    <a:pt x="1655" y="876"/>
                    <a:pt x="1652" y="874"/>
                    <a:pt x="1649" y="872"/>
                  </a:cubicBezTo>
                  <a:cubicBezTo>
                    <a:pt x="1649" y="869"/>
                    <a:pt x="1650" y="865"/>
                    <a:pt x="1648" y="863"/>
                  </a:cubicBezTo>
                  <a:cubicBezTo>
                    <a:pt x="1643" y="867"/>
                    <a:pt x="1642" y="863"/>
                    <a:pt x="1637" y="862"/>
                  </a:cubicBezTo>
                  <a:cubicBezTo>
                    <a:pt x="1635" y="865"/>
                    <a:pt x="1638" y="874"/>
                    <a:pt x="1633" y="874"/>
                  </a:cubicBezTo>
                  <a:cubicBezTo>
                    <a:pt x="1633" y="870"/>
                    <a:pt x="1633" y="871"/>
                    <a:pt x="1633" y="866"/>
                  </a:cubicBezTo>
                  <a:cubicBezTo>
                    <a:pt x="1629" y="865"/>
                    <a:pt x="1628" y="864"/>
                    <a:pt x="1625" y="867"/>
                  </a:cubicBezTo>
                  <a:cubicBezTo>
                    <a:pt x="1625" y="864"/>
                    <a:pt x="1623" y="863"/>
                    <a:pt x="1621" y="862"/>
                  </a:cubicBezTo>
                  <a:cubicBezTo>
                    <a:pt x="1620" y="864"/>
                    <a:pt x="1619" y="871"/>
                    <a:pt x="1621" y="873"/>
                  </a:cubicBezTo>
                  <a:cubicBezTo>
                    <a:pt x="1624" y="874"/>
                    <a:pt x="1623" y="871"/>
                    <a:pt x="1625" y="870"/>
                  </a:cubicBezTo>
                  <a:cubicBezTo>
                    <a:pt x="1627" y="874"/>
                    <a:pt x="1623" y="876"/>
                    <a:pt x="1623" y="880"/>
                  </a:cubicBezTo>
                  <a:cubicBezTo>
                    <a:pt x="1623" y="882"/>
                    <a:pt x="1626" y="882"/>
                    <a:pt x="1626" y="885"/>
                  </a:cubicBezTo>
                  <a:cubicBezTo>
                    <a:pt x="1629" y="884"/>
                    <a:pt x="1630" y="882"/>
                    <a:pt x="1634" y="882"/>
                  </a:cubicBezTo>
                  <a:cubicBezTo>
                    <a:pt x="1637" y="885"/>
                    <a:pt x="1639" y="889"/>
                    <a:pt x="1644" y="890"/>
                  </a:cubicBezTo>
                  <a:cubicBezTo>
                    <a:pt x="1648" y="891"/>
                    <a:pt x="1647" y="887"/>
                    <a:pt x="1650" y="887"/>
                  </a:cubicBezTo>
                  <a:cubicBezTo>
                    <a:pt x="1653" y="893"/>
                    <a:pt x="1658" y="898"/>
                    <a:pt x="1664" y="897"/>
                  </a:cubicBezTo>
                  <a:cubicBezTo>
                    <a:pt x="1665" y="899"/>
                    <a:pt x="1665" y="903"/>
                    <a:pt x="1667" y="904"/>
                  </a:cubicBezTo>
                  <a:cubicBezTo>
                    <a:pt x="1667" y="901"/>
                    <a:pt x="1668" y="899"/>
                    <a:pt x="1669" y="898"/>
                  </a:cubicBezTo>
                  <a:cubicBezTo>
                    <a:pt x="1669" y="900"/>
                    <a:pt x="1670" y="901"/>
                    <a:pt x="1671" y="902"/>
                  </a:cubicBezTo>
                  <a:cubicBezTo>
                    <a:pt x="1672" y="899"/>
                    <a:pt x="1669" y="888"/>
                    <a:pt x="1673" y="886"/>
                  </a:cubicBezTo>
                  <a:cubicBezTo>
                    <a:pt x="1673" y="890"/>
                    <a:pt x="1676" y="891"/>
                    <a:pt x="1677" y="894"/>
                  </a:cubicBezTo>
                  <a:cubicBezTo>
                    <a:pt x="1678" y="889"/>
                    <a:pt x="1683" y="887"/>
                    <a:pt x="1686" y="884"/>
                  </a:cubicBezTo>
                  <a:cubicBezTo>
                    <a:pt x="1692" y="874"/>
                    <a:pt x="1693" y="862"/>
                    <a:pt x="1697" y="850"/>
                  </a:cubicBezTo>
                  <a:cubicBezTo>
                    <a:pt x="1703" y="831"/>
                    <a:pt x="1713" y="807"/>
                    <a:pt x="1706" y="787"/>
                  </a:cubicBezTo>
                  <a:close/>
                  <a:moveTo>
                    <a:pt x="1682" y="843"/>
                  </a:moveTo>
                  <a:cubicBezTo>
                    <a:pt x="1680" y="843"/>
                    <a:pt x="1678" y="840"/>
                    <a:pt x="1680" y="839"/>
                  </a:cubicBezTo>
                  <a:cubicBezTo>
                    <a:pt x="1682" y="839"/>
                    <a:pt x="1682" y="841"/>
                    <a:pt x="1682" y="843"/>
                  </a:cubicBezTo>
                  <a:close/>
                  <a:moveTo>
                    <a:pt x="1550" y="804"/>
                  </a:moveTo>
                  <a:cubicBezTo>
                    <a:pt x="1553" y="805"/>
                    <a:pt x="1554" y="808"/>
                    <a:pt x="1557" y="810"/>
                  </a:cubicBezTo>
                  <a:cubicBezTo>
                    <a:pt x="1557" y="807"/>
                    <a:pt x="1557" y="804"/>
                    <a:pt x="1556" y="803"/>
                  </a:cubicBezTo>
                  <a:cubicBezTo>
                    <a:pt x="1554" y="804"/>
                    <a:pt x="1550" y="802"/>
                    <a:pt x="1550" y="804"/>
                  </a:cubicBezTo>
                  <a:close/>
                  <a:moveTo>
                    <a:pt x="1565" y="849"/>
                  </a:moveTo>
                  <a:cubicBezTo>
                    <a:pt x="1570" y="830"/>
                    <a:pt x="1554" y="815"/>
                    <a:pt x="1543" y="805"/>
                  </a:cubicBezTo>
                  <a:cubicBezTo>
                    <a:pt x="1542" y="811"/>
                    <a:pt x="1547" y="818"/>
                    <a:pt x="1548" y="824"/>
                  </a:cubicBezTo>
                  <a:cubicBezTo>
                    <a:pt x="1560" y="827"/>
                    <a:pt x="1556" y="844"/>
                    <a:pt x="1565" y="849"/>
                  </a:cubicBezTo>
                  <a:close/>
                  <a:moveTo>
                    <a:pt x="1596" y="815"/>
                  </a:moveTo>
                  <a:cubicBezTo>
                    <a:pt x="1596" y="812"/>
                    <a:pt x="1597" y="807"/>
                    <a:pt x="1594" y="807"/>
                  </a:cubicBezTo>
                  <a:cubicBezTo>
                    <a:pt x="1595" y="809"/>
                    <a:pt x="1592" y="815"/>
                    <a:pt x="1596" y="815"/>
                  </a:cubicBezTo>
                  <a:close/>
                  <a:moveTo>
                    <a:pt x="1686" y="817"/>
                  </a:moveTo>
                  <a:cubicBezTo>
                    <a:pt x="1687" y="815"/>
                    <a:pt x="1689" y="811"/>
                    <a:pt x="1685" y="811"/>
                  </a:cubicBezTo>
                  <a:cubicBezTo>
                    <a:pt x="1686" y="813"/>
                    <a:pt x="1684" y="817"/>
                    <a:pt x="1686" y="817"/>
                  </a:cubicBezTo>
                  <a:close/>
                  <a:moveTo>
                    <a:pt x="1584" y="835"/>
                  </a:moveTo>
                  <a:cubicBezTo>
                    <a:pt x="1582" y="832"/>
                    <a:pt x="1582" y="829"/>
                    <a:pt x="1577" y="830"/>
                  </a:cubicBezTo>
                  <a:cubicBezTo>
                    <a:pt x="1577" y="826"/>
                    <a:pt x="1575" y="823"/>
                    <a:pt x="1572" y="821"/>
                  </a:cubicBezTo>
                  <a:cubicBezTo>
                    <a:pt x="1571" y="837"/>
                    <a:pt x="1586" y="836"/>
                    <a:pt x="1589" y="848"/>
                  </a:cubicBezTo>
                  <a:cubicBezTo>
                    <a:pt x="1593" y="849"/>
                    <a:pt x="1592" y="849"/>
                    <a:pt x="1596" y="849"/>
                  </a:cubicBezTo>
                  <a:cubicBezTo>
                    <a:pt x="1593" y="844"/>
                    <a:pt x="1591" y="838"/>
                    <a:pt x="1588" y="833"/>
                  </a:cubicBezTo>
                  <a:cubicBezTo>
                    <a:pt x="1585" y="832"/>
                    <a:pt x="1586" y="834"/>
                    <a:pt x="1584" y="835"/>
                  </a:cubicBezTo>
                  <a:close/>
                  <a:moveTo>
                    <a:pt x="1190" y="823"/>
                  </a:moveTo>
                  <a:cubicBezTo>
                    <a:pt x="1178" y="826"/>
                    <a:pt x="1171" y="835"/>
                    <a:pt x="1162" y="841"/>
                  </a:cubicBezTo>
                  <a:cubicBezTo>
                    <a:pt x="1176" y="843"/>
                    <a:pt x="1186" y="834"/>
                    <a:pt x="1190" y="823"/>
                  </a:cubicBezTo>
                  <a:close/>
                  <a:moveTo>
                    <a:pt x="1513" y="836"/>
                  </a:moveTo>
                  <a:cubicBezTo>
                    <a:pt x="1515" y="833"/>
                    <a:pt x="1512" y="828"/>
                    <a:pt x="1510" y="827"/>
                  </a:cubicBezTo>
                  <a:cubicBezTo>
                    <a:pt x="1508" y="829"/>
                    <a:pt x="1509" y="835"/>
                    <a:pt x="1513" y="836"/>
                  </a:cubicBezTo>
                  <a:close/>
                  <a:moveTo>
                    <a:pt x="1669" y="831"/>
                  </a:moveTo>
                  <a:cubicBezTo>
                    <a:pt x="1667" y="834"/>
                    <a:pt x="1665" y="841"/>
                    <a:pt x="1671" y="841"/>
                  </a:cubicBezTo>
                  <a:cubicBezTo>
                    <a:pt x="1672" y="839"/>
                    <a:pt x="1674" y="830"/>
                    <a:pt x="1669" y="831"/>
                  </a:cubicBezTo>
                  <a:close/>
                  <a:moveTo>
                    <a:pt x="1704" y="836"/>
                  </a:moveTo>
                  <a:cubicBezTo>
                    <a:pt x="1705" y="840"/>
                    <a:pt x="1701" y="844"/>
                    <a:pt x="1704" y="847"/>
                  </a:cubicBezTo>
                  <a:cubicBezTo>
                    <a:pt x="1703" y="843"/>
                    <a:pt x="1708" y="837"/>
                    <a:pt x="1704" y="836"/>
                  </a:cubicBezTo>
                  <a:close/>
                  <a:moveTo>
                    <a:pt x="1607" y="846"/>
                  </a:moveTo>
                  <a:cubicBezTo>
                    <a:pt x="1604" y="845"/>
                    <a:pt x="1603" y="843"/>
                    <a:pt x="1600" y="842"/>
                  </a:cubicBezTo>
                  <a:cubicBezTo>
                    <a:pt x="1599" y="845"/>
                    <a:pt x="1598" y="851"/>
                    <a:pt x="1600" y="853"/>
                  </a:cubicBezTo>
                  <a:cubicBezTo>
                    <a:pt x="1604" y="853"/>
                    <a:pt x="1606" y="850"/>
                    <a:pt x="1607" y="846"/>
                  </a:cubicBezTo>
                  <a:close/>
                  <a:moveTo>
                    <a:pt x="1631" y="848"/>
                  </a:moveTo>
                  <a:cubicBezTo>
                    <a:pt x="1632" y="853"/>
                    <a:pt x="1632" y="858"/>
                    <a:pt x="1636" y="861"/>
                  </a:cubicBezTo>
                  <a:cubicBezTo>
                    <a:pt x="1638" y="856"/>
                    <a:pt x="1635" y="849"/>
                    <a:pt x="1631" y="848"/>
                  </a:cubicBezTo>
                  <a:close/>
                  <a:moveTo>
                    <a:pt x="1590" y="854"/>
                  </a:moveTo>
                  <a:cubicBezTo>
                    <a:pt x="1588" y="856"/>
                    <a:pt x="1585" y="858"/>
                    <a:pt x="1585" y="862"/>
                  </a:cubicBezTo>
                  <a:cubicBezTo>
                    <a:pt x="1586" y="863"/>
                    <a:pt x="1587" y="865"/>
                    <a:pt x="1589" y="865"/>
                  </a:cubicBezTo>
                  <a:cubicBezTo>
                    <a:pt x="1591" y="860"/>
                    <a:pt x="1592" y="864"/>
                    <a:pt x="1595" y="865"/>
                  </a:cubicBezTo>
                  <a:cubicBezTo>
                    <a:pt x="1597" y="865"/>
                    <a:pt x="1598" y="863"/>
                    <a:pt x="1598" y="861"/>
                  </a:cubicBezTo>
                  <a:cubicBezTo>
                    <a:pt x="1596" y="858"/>
                    <a:pt x="1593" y="856"/>
                    <a:pt x="1590" y="854"/>
                  </a:cubicBezTo>
                  <a:close/>
                  <a:moveTo>
                    <a:pt x="1604" y="854"/>
                  </a:moveTo>
                  <a:cubicBezTo>
                    <a:pt x="1600" y="860"/>
                    <a:pt x="1606" y="864"/>
                    <a:pt x="1609" y="867"/>
                  </a:cubicBezTo>
                  <a:cubicBezTo>
                    <a:pt x="1610" y="863"/>
                    <a:pt x="1612" y="867"/>
                    <a:pt x="1614" y="867"/>
                  </a:cubicBezTo>
                  <a:cubicBezTo>
                    <a:pt x="1614" y="863"/>
                    <a:pt x="1613" y="859"/>
                    <a:pt x="1612" y="856"/>
                  </a:cubicBezTo>
                  <a:cubicBezTo>
                    <a:pt x="1608" y="857"/>
                    <a:pt x="1608" y="855"/>
                    <a:pt x="1604" y="854"/>
                  </a:cubicBezTo>
                  <a:close/>
                  <a:moveTo>
                    <a:pt x="1616" y="858"/>
                  </a:moveTo>
                  <a:cubicBezTo>
                    <a:pt x="1615" y="860"/>
                    <a:pt x="1616" y="863"/>
                    <a:pt x="1619" y="863"/>
                  </a:cubicBezTo>
                  <a:cubicBezTo>
                    <a:pt x="1621" y="862"/>
                    <a:pt x="1620" y="857"/>
                    <a:pt x="1616" y="858"/>
                  </a:cubicBezTo>
                  <a:close/>
                  <a:moveTo>
                    <a:pt x="1693" y="877"/>
                  </a:moveTo>
                  <a:cubicBezTo>
                    <a:pt x="1694" y="880"/>
                    <a:pt x="1692" y="879"/>
                    <a:pt x="1692" y="882"/>
                  </a:cubicBezTo>
                  <a:cubicBezTo>
                    <a:pt x="1695" y="883"/>
                    <a:pt x="1697" y="876"/>
                    <a:pt x="1693" y="877"/>
                  </a:cubicBezTo>
                  <a:close/>
                  <a:moveTo>
                    <a:pt x="1121" y="1017"/>
                  </a:moveTo>
                  <a:cubicBezTo>
                    <a:pt x="1117" y="1003"/>
                    <a:pt x="1127" y="992"/>
                    <a:pt x="1132" y="979"/>
                  </a:cubicBezTo>
                  <a:cubicBezTo>
                    <a:pt x="1130" y="978"/>
                    <a:pt x="1130" y="977"/>
                    <a:pt x="1129" y="977"/>
                  </a:cubicBezTo>
                  <a:cubicBezTo>
                    <a:pt x="1125" y="984"/>
                    <a:pt x="1108" y="984"/>
                    <a:pt x="1116" y="998"/>
                  </a:cubicBezTo>
                  <a:cubicBezTo>
                    <a:pt x="1114" y="999"/>
                    <a:pt x="1113" y="1002"/>
                    <a:pt x="1111" y="1003"/>
                  </a:cubicBezTo>
                  <a:cubicBezTo>
                    <a:pt x="1111" y="999"/>
                    <a:pt x="1113" y="994"/>
                    <a:pt x="1108" y="995"/>
                  </a:cubicBezTo>
                  <a:cubicBezTo>
                    <a:pt x="1104" y="998"/>
                    <a:pt x="1111" y="1010"/>
                    <a:pt x="1105" y="1012"/>
                  </a:cubicBezTo>
                  <a:cubicBezTo>
                    <a:pt x="1099" y="1012"/>
                    <a:pt x="1095" y="1006"/>
                    <a:pt x="1089" y="1007"/>
                  </a:cubicBezTo>
                  <a:cubicBezTo>
                    <a:pt x="1089" y="1009"/>
                    <a:pt x="1089" y="1010"/>
                    <a:pt x="1088" y="1010"/>
                  </a:cubicBezTo>
                  <a:cubicBezTo>
                    <a:pt x="1089" y="1015"/>
                    <a:pt x="1096" y="1014"/>
                    <a:pt x="1094" y="1021"/>
                  </a:cubicBezTo>
                  <a:cubicBezTo>
                    <a:pt x="1101" y="1020"/>
                    <a:pt x="1097" y="1026"/>
                    <a:pt x="1099" y="1029"/>
                  </a:cubicBezTo>
                  <a:cubicBezTo>
                    <a:pt x="1103" y="1028"/>
                    <a:pt x="1107" y="1028"/>
                    <a:pt x="1108" y="1031"/>
                  </a:cubicBezTo>
                  <a:cubicBezTo>
                    <a:pt x="1109" y="1034"/>
                    <a:pt x="1107" y="1034"/>
                    <a:pt x="1108" y="1036"/>
                  </a:cubicBezTo>
                  <a:cubicBezTo>
                    <a:pt x="1109" y="1041"/>
                    <a:pt x="1115" y="1043"/>
                    <a:pt x="1119" y="1049"/>
                  </a:cubicBezTo>
                  <a:cubicBezTo>
                    <a:pt x="1122" y="1054"/>
                    <a:pt x="1123" y="1064"/>
                    <a:pt x="1132" y="1061"/>
                  </a:cubicBezTo>
                  <a:cubicBezTo>
                    <a:pt x="1134" y="1053"/>
                    <a:pt x="1126" y="1055"/>
                    <a:pt x="1126" y="1050"/>
                  </a:cubicBezTo>
                  <a:cubicBezTo>
                    <a:pt x="1126" y="1047"/>
                    <a:pt x="1126" y="1044"/>
                    <a:pt x="1129" y="1043"/>
                  </a:cubicBezTo>
                  <a:cubicBezTo>
                    <a:pt x="1135" y="1043"/>
                    <a:pt x="1135" y="1043"/>
                    <a:pt x="1135" y="1043"/>
                  </a:cubicBezTo>
                  <a:cubicBezTo>
                    <a:pt x="1137" y="1041"/>
                    <a:pt x="1138" y="1038"/>
                    <a:pt x="1138" y="1035"/>
                  </a:cubicBezTo>
                  <a:cubicBezTo>
                    <a:pt x="1132" y="1030"/>
                    <a:pt x="1127" y="1023"/>
                    <a:pt x="1121" y="1017"/>
                  </a:cubicBezTo>
                  <a:close/>
                  <a:moveTo>
                    <a:pt x="1194" y="1114"/>
                  </a:moveTo>
                  <a:cubicBezTo>
                    <a:pt x="1189" y="1106"/>
                    <a:pt x="1180" y="1101"/>
                    <a:pt x="1175" y="1094"/>
                  </a:cubicBezTo>
                  <a:cubicBezTo>
                    <a:pt x="1174" y="1092"/>
                    <a:pt x="1174" y="1090"/>
                    <a:pt x="1172" y="1087"/>
                  </a:cubicBezTo>
                  <a:cubicBezTo>
                    <a:pt x="1169" y="1083"/>
                    <a:pt x="1164" y="1082"/>
                    <a:pt x="1163" y="1079"/>
                  </a:cubicBezTo>
                  <a:cubicBezTo>
                    <a:pt x="1160" y="1069"/>
                    <a:pt x="1155" y="1062"/>
                    <a:pt x="1149" y="1055"/>
                  </a:cubicBezTo>
                  <a:cubicBezTo>
                    <a:pt x="1147" y="1057"/>
                    <a:pt x="1145" y="1058"/>
                    <a:pt x="1143" y="1060"/>
                  </a:cubicBezTo>
                  <a:cubicBezTo>
                    <a:pt x="1142" y="1059"/>
                    <a:pt x="1143" y="1057"/>
                    <a:pt x="1140" y="1057"/>
                  </a:cubicBezTo>
                  <a:cubicBezTo>
                    <a:pt x="1133" y="1073"/>
                    <a:pt x="1158" y="1081"/>
                    <a:pt x="1152" y="1096"/>
                  </a:cubicBezTo>
                  <a:cubicBezTo>
                    <a:pt x="1155" y="1097"/>
                    <a:pt x="1156" y="1097"/>
                    <a:pt x="1159" y="1097"/>
                  </a:cubicBezTo>
                  <a:cubicBezTo>
                    <a:pt x="1160" y="1103"/>
                    <a:pt x="1166" y="1106"/>
                    <a:pt x="1167" y="1111"/>
                  </a:cubicBezTo>
                  <a:cubicBezTo>
                    <a:pt x="1167" y="1112"/>
                    <a:pt x="1165" y="1113"/>
                    <a:pt x="1166" y="1114"/>
                  </a:cubicBezTo>
                  <a:cubicBezTo>
                    <a:pt x="1168" y="1117"/>
                    <a:pt x="1173" y="1119"/>
                    <a:pt x="1170" y="1125"/>
                  </a:cubicBezTo>
                  <a:cubicBezTo>
                    <a:pt x="1173" y="1127"/>
                    <a:pt x="1176" y="1130"/>
                    <a:pt x="1177" y="1135"/>
                  </a:cubicBezTo>
                  <a:cubicBezTo>
                    <a:pt x="1185" y="1138"/>
                    <a:pt x="1193" y="1135"/>
                    <a:pt x="1201" y="1139"/>
                  </a:cubicBezTo>
                  <a:cubicBezTo>
                    <a:pt x="1202" y="1136"/>
                    <a:pt x="1204" y="1135"/>
                    <a:pt x="1205" y="1133"/>
                  </a:cubicBezTo>
                  <a:cubicBezTo>
                    <a:pt x="1198" y="1129"/>
                    <a:pt x="1198" y="1121"/>
                    <a:pt x="1194" y="1114"/>
                  </a:cubicBezTo>
                  <a:close/>
                  <a:moveTo>
                    <a:pt x="1073" y="1080"/>
                  </a:moveTo>
                  <a:cubicBezTo>
                    <a:pt x="1077" y="1081"/>
                    <a:pt x="1078" y="1078"/>
                    <a:pt x="1079" y="1074"/>
                  </a:cubicBezTo>
                  <a:cubicBezTo>
                    <a:pt x="1077" y="1073"/>
                    <a:pt x="1076" y="1072"/>
                    <a:pt x="1074" y="1072"/>
                  </a:cubicBezTo>
                  <a:cubicBezTo>
                    <a:pt x="1073" y="1074"/>
                    <a:pt x="1071" y="1078"/>
                    <a:pt x="1073" y="1080"/>
                  </a:cubicBezTo>
                  <a:close/>
                  <a:moveTo>
                    <a:pt x="1399" y="1111"/>
                  </a:moveTo>
                  <a:cubicBezTo>
                    <a:pt x="1401" y="1111"/>
                    <a:pt x="1401" y="1110"/>
                    <a:pt x="1402" y="1110"/>
                  </a:cubicBezTo>
                  <a:cubicBezTo>
                    <a:pt x="1402" y="1109"/>
                    <a:pt x="1402" y="1107"/>
                    <a:pt x="1402" y="1105"/>
                  </a:cubicBezTo>
                  <a:cubicBezTo>
                    <a:pt x="1401" y="1103"/>
                    <a:pt x="1396" y="1104"/>
                    <a:pt x="1394" y="1103"/>
                  </a:cubicBezTo>
                  <a:cubicBezTo>
                    <a:pt x="1395" y="1106"/>
                    <a:pt x="1396" y="1110"/>
                    <a:pt x="1399" y="1111"/>
                  </a:cubicBezTo>
                  <a:close/>
                  <a:moveTo>
                    <a:pt x="1321" y="1124"/>
                  </a:moveTo>
                  <a:cubicBezTo>
                    <a:pt x="1324" y="1124"/>
                    <a:pt x="1324" y="1121"/>
                    <a:pt x="1324" y="1118"/>
                  </a:cubicBezTo>
                  <a:cubicBezTo>
                    <a:pt x="1321" y="1118"/>
                    <a:pt x="1319" y="1120"/>
                    <a:pt x="1319" y="1123"/>
                  </a:cubicBezTo>
                  <a:cubicBezTo>
                    <a:pt x="1319" y="1123"/>
                    <a:pt x="1321" y="1123"/>
                    <a:pt x="1321" y="1124"/>
                  </a:cubicBezTo>
                  <a:close/>
                  <a:moveTo>
                    <a:pt x="1318" y="1124"/>
                  </a:moveTo>
                  <a:cubicBezTo>
                    <a:pt x="1315" y="1123"/>
                    <a:pt x="1315" y="1125"/>
                    <a:pt x="1315" y="1127"/>
                  </a:cubicBezTo>
                  <a:cubicBezTo>
                    <a:pt x="1317" y="1128"/>
                    <a:pt x="1318" y="1126"/>
                    <a:pt x="1318" y="1124"/>
                  </a:cubicBezTo>
                  <a:close/>
                  <a:moveTo>
                    <a:pt x="1345" y="1125"/>
                  </a:moveTo>
                  <a:cubicBezTo>
                    <a:pt x="1345" y="1132"/>
                    <a:pt x="1345" y="1132"/>
                    <a:pt x="1345" y="1132"/>
                  </a:cubicBezTo>
                  <a:cubicBezTo>
                    <a:pt x="1349" y="1133"/>
                    <a:pt x="1349" y="1123"/>
                    <a:pt x="1345" y="1125"/>
                  </a:cubicBezTo>
                  <a:close/>
                  <a:moveTo>
                    <a:pt x="1341" y="1137"/>
                  </a:moveTo>
                  <a:cubicBezTo>
                    <a:pt x="1332" y="1139"/>
                    <a:pt x="1321" y="1137"/>
                    <a:pt x="1318" y="1129"/>
                  </a:cubicBezTo>
                  <a:cubicBezTo>
                    <a:pt x="1312" y="1142"/>
                    <a:pt x="1315" y="1151"/>
                    <a:pt x="1311" y="1163"/>
                  </a:cubicBezTo>
                  <a:cubicBezTo>
                    <a:pt x="1317" y="1161"/>
                    <a:pt x="1316" y="1168"/>
                    <a:pt x="1323" y="1170"/>
                  </a:cubicBezTo>
                  <a:cubicBezTo>
                    <a:pt x="1325" y="1164"/>
                    <a:pt x="1332" y="1162"/>
                    <a:pt x="1334" y="1155"/>
                  </a:cubicBezTo>
                  <a:cubicBezTo>
                    <a:pt x="1333" y="1154"/>
                    <a:pt x="1331" y="1155"/>
                    <a:pt x="1331" y="1152"/>
                  </a:cubicBezTo>
                  <a:cubicBezTo>
                    <a:pt x="1335" y="1148"/>
                    <a:pt x="1338" y="1143"/>
                    <a:pt x="1341" y="1137"/>
                  </a:cubicBezTo>
                  <a:close/>
                  <a:moveTo>
                    <a:pt x="1196" y="1143"/>
                  </a:moveTo>
                  <a:cubicBezTo>
                    <a:pt x="1192" y="1143"/>
                    <a:pt x="1192" y="1143"/>
                    <a:pt x="1192" y="1143"/>
                  </a:cubicBezTo>
                  <a:cubicBezTo>
                    <a:pt x="1191" y="1146"/>
                    <a:pt x="1191" y="1151"/>
                    <a:pt x="1195" y="1151"/>
                  </a:cubicBezTo>
                  <a:cubicBezTo>
                    <a:pt x="1194" y="1148"/>
                    <a:pt x="1197" y="1147"/>
                    <a:pt x="1196" y="1143"/>
                  </a:cubicBezTo>
                  <a:close/>
                  <a:moveTo>
                    <a:pt x="284" y="1289"/>
                  </a:moveTo>
                  <a:cubicBezTo>
                    <a:pt x="281" y="1281"/>
                    <a:pt x="276" y="1275"/>
                    <a:pt x="270" y="1271"/>
                  </a:cubicBezTo>
                  <a:cubicBezTo>
                    <a:pt x="272" y="1279"/>
                    <a:pt x="278" y="1284"/>
                    <a:pt x="284" y="1289"/>
                  </a:cubicBezTo>
                  <a:close/>
                  <a:moveTo>
                    <a:pt x="286" y="1293"/>
                  </a:moveTo>
                  <a:cubicBezTo>
                    <a:pt x="286" y="1295"/>
                    <a:pt x="287" y="1296"/>
                    <a:pt x="290" y="1296"/>
                  </a:cubicBezTo>
                  <a:cubicBezTo>
                    <a:pt x="290" y="1293"/>
                    <a:pt x="288" y="1293"/>
                    <a:pt x="286" y="1293"/>
                  </a:cubicBezTo>
                  <a:close/>
                  <a:moveTo>
                    <a:pt x="350" y="1358"/>
                  </a:moveTo>
                  <a:cubicBezTo>
                    <a:pt x="349" y="1355"/>
                    <a:pt x="347" y="1352"/>
                    <a:pt x="343" y="1351"/>
                  </a:cubicBezTo>
                  <a:cubicBezTo>
                    <a:pt x="344" y="1355"/>
                    <a:pt x="348" y="1356"/>
                    <a:pt x="350" y="1358"/>
                  </a:cubicBezTo>
                  <a:close/>
                  <a:moveTo>
                    <a:pt x="359" y="1369"/>
                  </a:moveTo>
                  <a:cubicBezTo>
                    <a:pt x="360" y="1371"/>
                    <a:pt x="361" y="1373"/>
                    <a:pt x="364" y="1374"/>
                  </a:cubicBezTo>
                  <a:cubicBezTo>
                    <a:pt x="363" y="1372"/>
                    <a:pt x="361" y="1367"/>
                    <a:pt x="359" y="1369"/>
                  </a:cubicBezTo>
                  <a:close/>
                  <a:moveTo>
                    <a:pt x="369" y="1383"/>
                  </a:moveTo>
                  <a:cubicBezTo>
                    <a:pt x="373" y="1382"/>
                    <a:pt x="369" y="1389"/>
                    <a:pt x="373" y="1388"/>
                  </a:cubicBezTo>
                  <a:cubicBezTo>
                    <a:pt x="374" y="1384"/>
                    <a:pt x="371" y="1380"/>
                    <a:pt x="369" y="1383"/>
                  </a:cubicBezTo>
                  <a:close/>
                  <a:moveTo>
                    <a:pt x="364" y="1432"/>
                  </a:moveTo>
                  <a:cubicBezTo>
                    <a:pt x="361" y="1431"/>
                    <a:pt x="359" y="1429"/>
                    <a:pt x="356" y="1428"/>
                  </a:cubicBezTo>
                  <a:cubicBezTo>
                    <a:pt x="358" y="1433"/>
                    <a:pt x="356" y="1436"/>
                    <a:pt x="360" y="1439"/>
                  </a:cubicBezTo>
                  <a:cubicBezTo>
                    <a:pt x="363" y="1440"/>
                    <a:pt x="365" y="1440"/>
                    <a:pt x="366" y="1438"/>
                  </a:cubicBezTo>
                  <a:cubicBezTo>
                    <a:pt x="363" y="1436"/>
                    <a:pt x="362" y="1435"/>
                    <a:pt x="364" y="1432"/>
                  </a:cubicBezTo>
                  <a:close/>
                  <a:moveTo>
                    <a:pt x="732" y="67"/>
                  </a:moveTo>
                  <a:cubicBezTo>
                    <a:pt x="718" y="64"/>
                    <a:pt x="703" y="59"/>
                    <a:pt x="689" y="58"/>
                  </a:cubicBezTo>
                  <a:cubicBezTo>
                    <a:pt x="682" y="54"/>
                    <a:pt x="675" y="54"/>
                    <a:pt x="668" y="48"/>
                  </a:cubicBezTo>
                  <a:cubicBezTo>
                    <a:pt x="680" y="51"/>
                    <a:pt x="684" y="46"/>
                    <a:pt x="696" y="47"/>
                  </a:cubicBezTo>
                  <a:cubicBezTo>
                    <a:pt x="697" y="42"/>
                    <a:pt x="691" y="44"/>
                    <a:pt x="691" y="41"/>
                  </a:cubicBezTo>
                  <a:cubicBezTo>
                    <a:pt x="694" y="41"/>
                    <a:pt x="697" y="42"/>
                    <a:pt x="701" y="42"/>
                  </a:cubicBezTo>
                  <a:cubicBezTo>
                    <a:pt x="702" y="40"/>
                    <a:pt x="703" y="39"/>
                    <a:pt x="704" y="37"/>
                  </a:cubicBezTo>
                  <a:cubicBezTo>
                    <a:pt x="702" y="34"/>
                    <a:pt x="698" y="39"/>
                    <a:pt x="697" y="36"/>
                  </a:cubicBezTo>
                  <a:cubicBezTo>
                    <a:pt x="700" y="35"/>
                    <a:pt x="702" y="35"/>
                    <a:pt x="703" y="32"/>
                  </a:cubicBezTo>
                  <a:cubicBezTo>
                    <a:pt x="693" y="28"/>
                    <a:pt x="680" y="24"/>
                    <a:pt x="665" y="25"/>
                  </a:cubicBezTo>
                  <a:cubicBezTo>
                    <a:pt x="664" y="22"/>
                    <a:pt x="665" y="22"/>
                    <a:pt x="661" y="21"/>
                  </a:cubicBezTo>
                  <a:cubicBezTo>
                    <a:pt x="670" y="20"/>
                    <a:pt x="687" y="24"/>
                    <a:pt x="692" y="14"/>
                  </a:cubicBezTo>
                  <a:cubicBezTo>
                    <a:pt x="678" y="11"/>
                    <a:pt x="670" y="15"/>
                    <a:pt x="657" y="14"/>
                  </a:cubicBezTo>
                  <a:cubicBezTo>
                    <a:pt x="662" y="10"/>
                    <a:pt x="670" y="9"/>
                    <a:pt x="675" y="5"/>
                  </a:cubicBezTo>
                  <a:cubicBezTo>
                    <a:pt x="669" y="3"/>
                    <a:pt x="658" y="6"/>
                    <a:pt x="655" y="0"/>
                  </a:cubicBezTo>
                  <a:cubicBezTo>
                    <a:pt x="626" y="0"/>
                    <a:pt x="595" y="8"/>
                    <a:pt x="569" y="17"/>
                  </a:cubicBezTo>
                  <a:cubicBezTo>
                    <a:pt x="555" y="11"/>
                    <a:pt x="540" y="23"/>
                    <a:pt x="526" y="24"/>
                  </a:cubicBezTo>
                  <a:cubicBezTo>
                    <a:pt x="527" y="24"/>
                    <a:pt x="527" y="23"/>
                    <a:pt x="525" y="23"/>
                  </a:cubicBezTo>
                  <a:cubicBezTo>
                    <a:pt x="524" y="25"/>
                    <a:pt x="522" y="24"/>
                    <a:pt x="524" y="26"/>
                  </a:cubicBezTo>
                  <a:cubicBezTo>
                    <a:pt x="515" y="28"/>
                    <a:pt x="507" y="32"/>
                    <a:pt x="499" y="35"/>
                  </a:cubicBezTo>
                  <a:cubicBezTo>
                    <a:pt x="460" y="51"/>
                    <a:pt x="419" y="76"/>
                    <a:pt x="386" y="98"/>
                  </a:cubicBezTo>
                  <a:cubicBezTo>
                    <a:pt x="324" y="140"/>
                    <a:pt x="261" y="193"/>
                    <a:pt x="212" y="249"/>
                  </a:cubicBezTo>
                  <a:cubicBezTo>
                    <a:pt x="191" y="272"/>
                    <a:pt x="179" y="300"/>
                    <a:pt x="165" y="324"/>
                  </a:cubicBezTo>
                  <a:cubicBezTo>
                    <a:pt x="168" y="328"/>
                    <a:pt x="160" y="331"/>
                    <a:pt x="163" y="334"/>
                  </a:cubicBezTo>
                  <a:cubicBezTo>
                    <a:pt x="165" y="330"/>
                    <a:pt x="166" y="337"/>
                    <a:pt x="164" y="337"/>
                  </a:cubicBezTo>
                  <a:cubicBezTo>
                    <a:pt x="166" y="338"/>
                    <a:pt x="167" y="335"/>
                    <a:pt x="168" y="337"/>
                  </a:cubicBezTo>
                  <a:cubicBezTo>
                    <a:pt x="166" y="341"/>
                    <a:pt x="165" y="346"/>
                    <a:pt x="170" y="347"/>
                  </a:cubicBezTo>
                  <a:cubicBezTo>
                    <a:pt x="168" y="379"/>
                    <a:pt x="140" y="395"/>
                    <a:pt x="144" y="426"/>
                  </a:cubicBezTo>
                  <a:cubicBezTo>
                    <a:pt x="152" y="412"/>
                    <a:pt x="160" y="398"/>
                    <a:pt x="167" y="384"/>
                  </a:cubicBezTo>
                  <a:cubicBezTo>
                    <a:pt x="167" y="372"/>
                    <a:pt x="176" y="369"/>
                    <a:pt x="181" y="360"/>
                  </a:cubicBezTo>
                  <a:cubicBezTo>
                    <a:pt x="183" y="361"/>
                    <a:pt x="182" y="364"/>
                    <a:pt x="185" y="363"/>
                  </a:cubicBezTo>
                  <a:cubicBezTo>
                    <a:pt x="191" y="353"/>
                    <a:pt x="203" y="345"/>
                    <a:pt x="215" y="346"/>
                  </a:cubicBezTo>
                  <a:cubicBezTo>
                    <a:pt x="213" y="351"/>
                    <a:pt x="211" y="355"/>
                    <a:pt x="208" y="359"/>
                  </a:cubicBezTo>
                  <a:cubicBezTo>
                    <a:pt x="211" y="358"/>
                    <a:pt x="213" y="355"/>
                    <a:pt x="216" y="354"/>
                  </a:cubicBezTo>
                  <a:cubicBezTo>
                    <a:pt x="216" y="354"/>
                    <a:pt x="214" y="356"/>
                    <a:pt x="215" y="356"/>
                  </a:cubicBezTo>
                  <a:cubicBezTo>
                    <a:pt x="221" y="356"/>
                    <a:pt x="223" y="349"/>
                    <a:pt x="231" y="343"/>
                  </a:cubicBezTo>
                  <a:cubicBezTo>
                    <a:pt x="233" y="343"/>
                    <a:pt x="232" y="346"/>
                    <a:pt x="234" y="345"/>
                  </a:cubicBezTo>
                  <a:cubicBezTo>
                    <a:pt x="237" y="341"/>
                    <a:pt x="241" y="339"/>
                    <a:pt x="245" y="337"/>
                  </a:cubicBezTo>
                  <a:cubicBezTo>
                    <a:pt x="245" y="340"/>
                    <a:pt x="245" y="340"/>
                    <a:pt x="245" y="340"/>
                  </a:cubicBezTo>
                  <a:cubicBezTo>
                    <a:pt x="250" y="342"/>
                    <a:pt x="251" y="335"/>
                    <a:pt x="253" y="337"/>
                  </a:cubicBezTo>
                  <a:cubicBezTo>
                    <a:pt x="252" y="340"/>
                    <a:pt x="251" y="342"/>
                    <a:pt x="252" y="345"/>
                  </a:cubicBezTo>
                  <a:cubicBezTo>
                    <a:pt x="256" y="348"/>
                    <a:pt x="261" y="345"/>
                    <a:pt x="263" y="345"/>
                  </a:cubicBezTo>
                  <a:cubicBezTo>
                    <a:pt x="265" y="350"/>
                    <a:pt x="267" y="353"/>
                    <a:pt x="269" y="356"/>
                  </a:cubicBezTo>
                  <a:cubicBezTo>
                    <a:pt x="267" y="362"/>
                    <a:pt x="262" y="369"/>
                    <a:pt x="263" y="376"/>
                  </a:cubicBezTo>
                  <a:cubicBezTo>
                    <a:pt x="264" y="376"/>
                    <a:pt x="266" y="375"/>
                    <a:pt x="267" y="377"/>
                  </a:cubicBezTo>
                  <a:cubicBezTo>
                    <a:pt x="267" y="409"/>
                    <a:pt x="253" y="443"/>
                    <a:pt x="230" y="460"/>
                  </a:cubicBezTo>
                  <a:cubicBezTo>
                    <a:pt x="223" y="457"/>
                    <a:pt x="211" y="460"/>
                    <a:pt x="206" y="465"/>
                  </a:cubicBezTo>
                  <a:cubicBezTo>
                    <a:pt x="208" y="459"/>
                    <a:pt x="203" y="460"/>
                    <a:pt x="201" y="457"/>
                  </a:cubicBezTo>
                  <a:cubicBezTo>
                    <a:pt x="199" y="450"/>
                    <a:pt x="204" y="445"/>
                    <a:pt x="201" y="438"/>
                  </a:cubicBezTo>
                  <a:cubicBezTo>
                    <a:pt x="190" y="438"/>
                    <a:pt x="182" y="442"/>
                    <a:pt x="174" y="446"/>
                  </a:cubicBezTo>
                  <a:cubicBezTo>
                    <a:pt x="173" y="457"/>
                    <a:pt x="179" y="464"/>
                    <a:pt x="176" y="479"/>
                  </a:cubicBezTo>
                  <a:cubicBezTo>
                    <a:pt x="179" y="479"/>
                    <a:pt x="178" y="476"/>
                    <a:pt x="181" y="477"/>
                  </a:cubicBezTo>
                  <a:cubicBezTo>
                    <a:pt x="176" y="481"/>
                    <a:pt x="181" y="491"/>
                    <a:pt x="178" y="499"/>
                  </a:cubicBezTo>
                  <a:cubicBezTo>
                    <a:pt x="179" y="500"/>
                    <a:pt x="183" y="499"/>
                    <a:pt x="182" y="503"/>
                  </a:cubicBezTo>
                  <a:cubicBezTo>
                    <a:pt x="175" y="505"/>
                    <a:pt x="172" y="508"/>
                    <a:pt x="165" y="512"/>
                  </a:cubicBezTo>
                  <a:cubicBezTo>
                    <a:pt x="153" y="509"/>
                    <a:pt x="145" y="524"/>
                    <a:pt x="138" y="532"/>
                  </a:cubicBezTo>
                  <a:cubicBezTo>
                    <a:pt x="139" y="542"/>
                    <a:pt x="138" y="555"/>
                    <a:pt x="141" y="565"/>
                  </a:cubicBezTo>
                  <a:cubicBezTo>
                    <a:pt x="140" y="581"/>
                    <a:pt x="132" y="593"/>
                    <a:pt x="128" y="608"/>
                  </a:cubicBezTo>
                  <a:cubicBezTo>
                    <a:pt x="123" y="608"/>
                    <a:pt x="123" y="614"/>
                    <a:pt x="119" y="615"/>
                  </a:cubicBezTo>
                  <a:cubicBezTo>
                    <a:pt x="116" y="611"/>
                    <a:pt x="111" y="615"/>
                    <a:pt x="109" y="611"/>
                  </a:cubicBezTo>
                  <a:cubicBezTo>
                    <a:pt x="101" y="617"/>
                    <a:pt x="97" y="627"/>
                    <a:pt x="92" y="636"/>
                  </a:cubicBezTo>
                  <a:cubicBezTo>
                    <a:pt x="89" y="634"/>
                    <a:pt x="87" y="631"/>
                    <a:pt x="84" y="629"/>
                  </a:cubicBezTo>
                  <a:cubicBezTo>
                    <a:pt x="84" y="624"/>
                    <a:pt x="85" y="617"/>
                    <a:pt x="82" y="615"/>
                  </a:cubicBezTo>
                  <a:cubicBezTo>
                    <a:pt x="78" y="614"/>
                    <a:pt x="79" y="617"/>
                    <a:pt x="76" y="617"/>
                  </a:cubicBezTo>
                  <a:cubicBezTo>
                    <a:pt x="76" y="616"/>
                    <a:pt x="77" y="614"/>
                    <a:pt x="76" y="614"/>
                  </a:cubicBezTo>
                  <a:cubicBezTo>
                    <a:pt x="75" y="615"/>
                    <a:pt x="74" y="617"/>
                    <a:pt x="72" y="617"/>
                  </a:cubicBezTo>
                  <a:cubicBezTo>
                    <a:pt x="71" y="614"/>
                    <a:pt x="70" y="614"/>
                    <a:pt x="67" y="615"/>
                  </a:cubicBezTo>
                  <a:cubicBezTo>
                    <a:pt x="67" y="612"/>
                    <a:pt x="67" y="610"/>
                    <a:pt x="65" y="610"/>
                  </a:cubicBezTo>
                  <a:cubicBezTo>
                    <a:pt x="63" y="612"/>
                    <a:pt x="60" y="614"/>
                    <a:pt x="60" y="619"/>
                  </a:cubicBezTo>
                  <a:cubicBezTo>
                    <a:pt x="60" y="621"/>
                    <a:pt x="64" y="620"/>
                    <a:pt x="64" y="623"/>
                  </a:cubicBezTo>
                  <a:cubicBezTo>
                    <a:pt x="61" y="625"/>
                    <a:pt x="63" y="631"/>
                    <a:pt x="60" y="633"/>
                  </a:cubicBezTo>
                  <a:cubicBezTo>
                    <a:pt x="60" y="630"/>
                    <a:pt x="55" y="632"/>
                    <a:pt x="53" y="630"/>
                  </a:cubicBezTo>
                  <a:cubicBezTo>
                    <a:pt x="46" y="635"/>
                    <a:pt x="49" y="645"/>
                    <a:pt x="45" y="651"/>
                  </a:cubicBezTo>
                  <a:cubicBezTo>
                    <a:pt x="43" y="654"/>
                    <a:pt x="39" y="655"/>
                    <a:pt x="37" y="657"/>
                  </a:cubicBezTo>
                  <a:cubicBezTo>
                    <a:pt x="34" y="661"/>
                    <a:pt x="36" y="668"/>
                    <a:pt x="31" y="671"/>
                  </a:cubicBezTo>
                  <a:cubicBezTo>
                    <a:pt x="30" y="671"/>
                    <a:pt x="29" y="670"/>
                    <a:pt x="27" y="671"/>
                  </a:cubicBezTo>
                  <a:cubicBezTo>
                    <a:pt x="21" y="675"/>
                    <a:pt x="25" y="682"/>
                    <a:pt x="22" y="689"/>
                  </a:cubicBezTo>
                  <a:cubicBezTo>
                    <a:pt x="20" y="687"/>
                    <a:pt x="23" y="681"/>
                    <a:pt x="19" y="681"/>
                  </a:cubicBezTo>
                  <a:cubicBezTo>
                    <a:pt x="21" y="694"/>
                    <a:pt x="15" y="700"/>
                    <a:pt x="19" y="711"/>
                  </a:cubicBezTo>
                  <a:cubicBezTo>
                    <a:pt x="16" y="710"/>
                    <a:pt x="18" y="714"/>
                    <a:pt x="15" y="714"/>
                  </a:cubicBezTo>
                  <a:cubicBezTo>
                    <a:pt x="8" y="753"/>
                    <a:pt x="0" y="800"/>
                    <a:pt x="3" y="845"/>
                  </a:cubicBezTo>
                  <a:cubicBezTo>
                    <a:pt x="4" y="874"/>
                    <a:pt x="7" y="900"/>
                    <a:pt x="10" y="925"/>
                  </a:cubicBezTo>
                  <a:cubicBezTo>
                    <a:pt x="22" y="1004"/>
                    <a:pt x="40" y="1074"/>
                    <a:pt x="66" y="1136"/>
                  </a:cubicBezTo>
                  <a:cubicBezTo>
                    <a:pt x="81" y="1172"/>
                    <a:pt x="97" y="1206"/>
                    <a:pt x="116" y="1234"/>
                  </a:cubicBezTo>
                  <a:cubicBezTo>
                    <a:pt x="115" y="1232"/>
                    <a:pt x="115" y="1229"/>
                    <a:pt x="117" y="1227"/>
                  </a:cubicBezTo>
                  <a:cubicBezTo>
                    <a:pt x="134" y="1241"/>
                    <a:pt x="145" y="1273"/>
                    <a:pt x="172" y="1283"/>
                  </a:cubicBezTo>
                  <a:cubicBezTo>
                    <a:pt x="177" y="1290"/>
                    <a:pt x="184" y="1296"/>
                    <a:pt x="193" y="1299"/>
                  </a:cubicBezTo>
                  <a:cubicBezTo>
                    <a:pt x="195" y="1290"/>
                    <a:pt x="188" y="1276"/>
                    <a:pt x="187" y="1270"/>
                  </a:cubicBezTo>
                  <a:cubicBezTo>
                    <a:pt x="197" y="1287"/>
                    <a:pt x="206" y="1311"/>
                    <a:pt x="224" y="1317"/>
                  </a:cubicBezTo>
                  <a:cubicBezTo>
                    <a:pt x="228" y="1313"/>
                    <a:pt x="231" y="1308"/>
                    <a:pt x="231" y="1303"/>
                  </a:cubicBezTo>
                  <a:cubicBezTo>
                    <a:pt x="238" y="1307"/>
                    <a:pt x="241" y="1316"/>
                    <a:pt x="248" y="1319"/>
                  </a:cubicBezTo>
                  <a:cubicBezTo>
                    <a:pt x="249" y="1319"/>
                    <a:pt x="249" y="1318"/>
                    <a:pt x="250" y="1319"/>
                  </a:cubicBezTo>
                  <a:cubicBezTo>
                    <a:pt x="251" y="1313"/>
                    <a:pt x="247" y="1308"/>
                    <a:pt x="248" y="1306"/>
                  </a:cubicBezTo>
                  <a:cubicBezTo>
                    <a:pt x="254" y="1312"/>
                    <a:pt x="261" y="1316"/>
                    <a:pt x="263" y="1325"/>
                  </a:cubicBezTo>
                  <a:cubicBezTo>
                    <a:pt x="261" y="1325"/>
                    <a:pt x="260" y="1324"/>
                    <a:pt x="259" y="1323"/>
                  </a:cubicBezTo>
                  <a:cubicBezTo>
                    <a:pt x="259" y="1328"/>
                    <a:pt x="262" y="1331"/>
                    <a:pt x="267" y="1332"/>
                  </a:cubicBezTo>
                  <a:cubicBezTo>
                    <a:pt x="266" y="1329"/>
                    <a:pt x="270" y="1330"/>
                    <a:pt x="271" y="1330"/>
                  </a:cubicBezTo>
                  <a:cubicBezTo>
                    <a:pt x="278" y="1334"/>
                    <a:pt x="279" y="1342"/>
                    <a:pt x="288" y="1343"/>
                  </a:cubicBezTo>
                  <a:cubicBezTo>
                    <a:pt x="307" y="1338"/>
                    <a:pt x="305" y="1369"/>
                    <a:pt x="319" y="1374"/>
                  </a:cubicBezTo>
                  <a:cubicBezTo>
                    <a:pt x="329" y="1373"/>
                    <a:pt x="332" y="1378"/>
                    <a:pt x="337" y="1382"/>
                  </a:cubicBezTo>
                  <a:cubicBezTo>
                    <a:pt x="352" y="1381"/>
                    <a:pt x="352" y="1394"/>
                    <a:pt x="361" y="1399"/>
                  </a:cubicBezTo>
                  <a:cubicBezTo>
                    <a:pt x="362" y="1395"/>
                    <a:pt x="375" y="1396"/>
                    <a:pt x="372" y="1400"/>
                  </a:cubicBezTo>
                  <a:cubicBezTo>
                    <a:pt x="371" y="1399"/>
                    <a:pt x="368" y="1399"/>
                    <a:pt x="365" y="1399"/>
                  </a:cubicBezTo>
                  <a:cubicBezTo>
                    <a:pt x="365" y="1407"/>
                    <a:pt x="373" y="1411"/>
                    <a:pt x="378" y="1416"/>
                  </a:cubicBezTo>
                  <a:cubicBezTo>
                    <a:pt x="383" y="1422"/>
                    <a:pt x="384" y="1431"/>
                    <a:pt x="391" y="1435"/>
                  </a:cubicBezTo>
                  <a:cubicBezTo>
                    <a:pt x="392" y="1431"/>
                    <a:pt x="391" y="1431"/>
                    <a:pt x="392" y="1429"/>
                  </a:cubicBezTo>
                  <a:cubicBezTo>
                    <a:pt x="393" y="1432"/>
                    <a:pt x="396" y="1428"/>
                    <a:pt x="397" y="1429"/>
                  </a:cubicBezTo>
                  <a:cubicBezTo>
                    <a:pt x="396" y="1422"/>
                    <a:pt x="390" y="1420"/>
                    <a:pt x="388" y="1414"/>
                  </a:cubicBezTo>
                  <a:cubicBezTo>
                    <a:pt x="390" y="1414"/>
                    <a:pt x="390" y="1416"/>
                    <a:pt x="392" y="1416"/>
                  </a:cubicBezTo>
                  <a:cubicBezTo>
                    <a:pt x="390" y="1411"/>
                    <a:pt x="387" y="1407"/>
                    <a:pt x="383" y="1404"/>
                  </a:cubicBezTo>
                  <a:cubicBezTo>
                    <a:pt x="383" y="1399"/>
                    <a:pt x="381" y="1394"/>
                    <a:pt x="375" y="1392"/>
                  </a:cubicBezTo>
                  <a:cubicBezTo>
                    <a:pt x="373" y="1393"/>
                    <a:pt x="370" y="1398"/>
                    <a:pt x="368" y="1393"/>
                  </a:cubicBezTo>
                  <a:cubicBezTo>
                    <a:pt x="370" y="1393"/>
                    <a:pt x="372" y="1393"/>
                    <a:pt x="373" y="1391"/>
                  </a:cubicBezTo>
                  <a:cubicBezTo>
                    <a:pt x="367" y="1388"/>
                    <a:pt x="368" y="1373"/>
                    <a:pt x="359" y="1376"/>
                  </a:cubicBezTo>
                  <a:cubicBezTo>
                    <a:pt x="362" y="1377"/>
                    <a:pt x="363" y="1378"/>
                    <a:pt x="362" y="1382"/>
                  </a:cubicBezTo>
                  <a:cubicBezTo>
                    <a:pt x="358" y="1381"/>
                    <a:pt x="356" y="1378"/>
                    <a:pt x="356" y="1374"/>
                  </a:cubicBezTo>
                  <a:cubicBezTo>
                    <a:pt x="357" y="1374"/>
                    <a:pt x="358" y="1376"/>
                    <a:pt x="358" y="1373"/>
                  </a:cubicBezTo>
                  <a:cubicBezTo>
                    <a:pt x="356" y="1370"/>
                    <a:pt x="351" y="1364"/>
                    <a:pt x="350" y="1363"/>
                  </a:cubicBezTo>
                  <a:cubicBezTo>
                    <a:pt x="352" y="1364"/>
                    <a:pt x="356" y="1368"/>
                    <a:pt x="359" y="1366"/>
                  </a:cubicBezTo>
                  <a:cubicBezTo>
                    <a:pt x="354" y="1361"/>
                    <a:pt x="347" y="1360"/>
                    <a:pt x="342" y="1354"/>
                  </a:cubicBezTo>
                  <a:cubicBezTo>
                    <a:pt x="342" y="1353"/>
                    <a:pt x="343" y="1350"/>
                    <a:pt x="342" y="1349"/>
                  </a:cubicBezTo>
                  <a:cubicBezTo>
                    <a:pt x="340" y="1344"/>
                    <a:pt x="329" y="1331"/>
                    <a:pt x="325" y="1332"/>
                  </a:cubicBezTo>
                  <a:cubicBezTo>
                    <a:pt x="324" y="1338"/>
                    <a:pt x="333" y="1340"/>
                    <a:pt x="332" y="1343"/>
                  </a:cubicBezTo>
                  <a:cubicBezTo>
                    <a:pt x="326" y="1344"/>
                    <a:pt x="328" y="1336"/>
                    <a:pt x="323" y="1336"/>
                  </a:cubicBezTo>
                  <a:cubicBezTo>
                    <a:pt x="322" y="1338"/>
                    <a:pt x="326" y="1339"/>
                    <a:pt x="323" y="1340"/>
                  </a:cubicBezTo>
                  <a:cubicBezTo>
                    <a:pt x="320" y="1338"/>
                    <a:pt x="321" y="1332"/>
                    <a:pt x="320" y="1329"/>
                  </a:cubicBezTo>
                  <a:cubicBezTo>
                    <a:pt x="314" y="1329"/>
                    <a:pt x="311" y="1319"/>
                    <a:pt x="316" y="1317"/>
                  </a:cubicBezTo>
                  <a:cubicBezTo>
                    <a:pt x="314" y="1313"/>
                    <a:pt x="309" y="1312"/>
                    <a:pt x="305" y="1310"/>
                  </a:cubicBezTo>
                  <a:cubicBezTo>
                    <a:pt x="303" y="1313"/>
                    <a:pt x="308" y="1317"/>
                    <a:pt x="309" y="1320"/>
                  </a:cubicBezTo>
                  <a:cubicBezTo>
                    <a:pt x="303" y="1316"/>
                    <a:pt x="299" y="1309"/>
                    <a:pt x="292" y="1307"/>
                  </a:cubicBezTo>
                  <a:cubicBezTo>
                    <a:pt x="297" y="1308"/>
                    <a:pt x="291" y="1304"/>
                    <a:pt x="295" y="1303"/>
                  </a:cubicBezTo>
                  <a:cubicBezTo>
                    <a:pt x="297" y="1306"/>
                    <a:pt x="299" y="1313"/>
                    <a:pt x="302" y="1310"/>
                  </a:cubicBezTo>
                  <a:cubicBezTo>
                    <a:pt x="299" y="1307"/>
                    <a:pt x="297" y="1303"/>
                    <a:pt x="293" y="1300"/>
                  </a:cubicBezTo>
                  <a:cubicBezTo>
                    <a:pt x="292" y="1301"/>
                    <a:pt x="293" y="1304"/>
                    <a:pt x="291" y="1303"/>
                  </a:cubicBezTo>
                  <a:cubicBezTo>
                    <a:pt x="285" y="1295"/>
                    <a:pt x="279" y="1286"/>
                    <a:pt x="269" y="1281"/>
                  </a:cubicBezTo>
                  <a:cubicBezTo>
                    <a:pt x="271" y="1275"/>
                    <a:pt x="265" y="1278"/>
                    <a:pt x="266" y="1272"/>
                  </a:cubicBezTo>
                  <a:cubicBezTo>
                    <a:pt x="268" y="1272"/>
                    <a:pt x="269" y="1275"/>
                    <a:pt x="268" y="1271"/>
                  </a:cubicBezTo>
                  <a:cubicBezTo>
                    <a:pt x="266" y="1260"/>
                    <a:pt x="254" y="1254"/>
                    <a:pt x="248" y="1245"/>
                  </a:cubicBezTo>
                  <a:cubicBezTo>
                    <a:pt x="244" y="1238"/>
                    <a:pt x="242" y="1230"/>
                    <a:pt x="237" y="1223"/>
                  </a:cubicBezTo>
                  <a:cubicBezTo>
                    <a:pt x="231" y="1216"/>
                    <a:pt x="220" y="1208"/>
                    <a:pt x="214" y="1202"/>
                  </a:cubicBezTo>
                  <a:cubicBezTo>
                    <a:pt x="209" y="1198"/>
                    <a:pt x="204" y="1191"/>
                    <a:pt x="201" y="1187"/>
                  </a:cubicBezTo>
                  <a:cubicBezTo>
                    <a:pt x="193" y="1176"/>
                    <a:pt x="191" y="1162"/>
                    <a:pt x="182" y="1150"/>
                  </a:cubicBezTo>
                  <a:cubicBezTo>
                    <a:pt x="180" y="1147"/>
                    <a:pt x="177" y="1146"/>
                    <a:pt x="175" y="1144"/>
                  </a:cubicBezTo>
                  <a:cubicBezTo>
                    <a:pt x="171" y="1137"/>
                    <a:pt x="170" y="1129"/>
                    <a:pt x="165" y="1122"/>
                  </a:cubicBezTo>
                  <a:cubicBezTo>
                    <a:pt x="155" y="1116"/>
                    <a:pt x="153" y="1102"/>
                    <a:pt x="146" y="1094"/>
                  </a:cubicBezTo>
                  <a:cubicBezTo>
                    <a:pt x="145" y="1085"/>
                    <a:pt x="139" y="1081"/>
                    <a:pt x="136" y="1075"/>
                  </a:cubicBezTo>
                  <a:cubicBezTo>
                    <a:pt x="137" y="1068"/>
                    <a:pt x="133" y="1067"/>
                    <a:pt x="130" y="1064"/>
                  </a:cubicBezTo>
                  <a:cubicBezTo>
                    <a:pt x="122" y="1042"/>
                    <a:pt x="108" y="1020"/>
                    <a:pt x="110" y="990"/>
                  </a:cubicBezTo>
                  <a:cubicBezTo>
                    <a:pt x="111" y="968"/>
                    <a:pt x="125" y="947"/>
                    <a:pt x="123" y="923"/>
                  </a:cubicBezTo>
                  <a:cubicBezTo>
                    <a:pt x="122" y="920"/>
                    <a:pt x="120" y="917"/>
                    <a:pt x="120" y="913"/>
                  </a:cubicBezTo>
                  <a:cubicBezTo>
                    <a:pt x="119" y="905"/>
                    <a:pt x="120" y="896"/>
                    <a:pt x="120" y="887"/>
                  </a:cubicBezTo>
                  <a:cubicBezTo>
                    <a:pt x="120" y="855"/>
                    <a:pt x="122" y="823"/>
                    <a:pt x="133" y="797"/>
                  </a:cubicBezTo>
                  <a:cubicBezTo>
                    <a:pt x="133" y="795"/>
                    <a:pt x="129" y="796"/>
                    <a:pt x="129" y="792"/>
                  </a:cubicBezTo>
                  <a:cubicBezTo>
                    <a:pt x="132" y="789"/>
                    <a:pt x="131" y="781"/>
                    <a:pt x="131" y="775"/>
                  </a:cubicBezTo>
                  <a:cubicBezTo>
                    <a:pt x="127" y="771"/>
                    <a:pt x="123" y="769"/>
                    <a:pt x="119" y="767"/>
                  </a:cubicBezTo>
                  <a:cubicBezTo>
                    <a:pt x="119" y="766"/>
                    <a:pt x="118" y="765"/>
                    <a:pt x="118" y="764"/>
                  </a:cubicBezTo>
                  <a:cubicBezTo>
                    <a:pt x="120" y="763"/>
                    <a:pt x="120" y="765"/>
                    <a:pt x="122" y="765"/>
                  </a:cubicBezTo>
                  <a:cubicBezTo>
                    <a:pt x="120" y="760"/>
                    <a:pt x="125" y="758"/>
                    <a:pt x="125" y="752"/>
                  </a:cubicBezTo>
                  <a:cubicBezTo>
                    <a:pt x="126" y="748"/>
                    <a:pt x="121" y="742"/>
                    <a:pt x="124" y="737"/>
                  </a:cubicBezTo>
                  <a:cubicBezTo>
                    <a:pt x="116" y="733"/>
                    <a:pt x="117" y="722"/>
                    <a:pt x="115" y="716"/>
                  </a:cubicBezTo>
                  <a:cubicBezTo>
                    <a:pt x="111" y="715"/>
                    <a:pt x="112" y="718"/>
                    <a:pt x="109" y="719"/>
                  </a:cubicBezTo>
                  <a:cubicBezTo>
                    <a:pt x="106" y="716"/>
                    <a:pt x="108" y="715"/>
                    <a:pt x="108" y="711"/>
                  </a:cubicBezTo>
                  <a:cubicBezTo>
                    <a:pt x="104" y="711"/>
                    <a:pt x="104" y="707"/>
                    <a:pt x="103" y="704"/>
                  </a:cubicBezTo>
                  <a:cubicBezTo>
                    <a:pt x="98" y="704"/>
                    <a:pt x="98" y="704"/>
                    <a:pt x="98" y="704"/>
                  </a:cubicBezTo>
                  <a:cubicBezTo>
                    <a:pt x="93" y="698"/>
                    <a:pt x="96" y="692"/>
                    <a:pt x="96" y="686"/>
                  </a:cubicBezTo>
                  <a:cubicBezTo>
                    <a:pt x="96" y="684"/>
                    <a:pt x="94" y="683"/>
                    <a:pt x="94" y="681"/>
                  </a:cubicBezTo>
                  <a:cubicBezTo>
                    <a:pt x="91" y="660"/>
                    <a:pt x="98" y="633"/>
                    <a:pt x="108" y="621"/>
                  </a:cubicBezTo>
                  <a:cubicBezTo>
                    <a:pt x="110" y="623"/>
                    <a:pt x="114" y="624"/>
                    <a:pt x="116" y="626"/>
                  </a:cubicBezTo>
                  <a:cubicBezTo>
                    <a:pt x="115" y="630"/>
                    <a:pt x="112" y="632"/>
                    <a:pt x="112" y="637"/>
                  </a:cubicBezTo>
                  <a:cubicBezTo>
                    <a:pt x="117" y="639"/>
                    <a:pt x="119" y="633"/>
                    <a:pt x="118" y="627"/>
                  </a:cubicBezTo>
                  <a:cubicBezTo>
                    <a:pt x="119" y="626"/>
                    <a:pt x="122" y="629"/>
                    <a:pt x="124" y="626"/>
                  </a:cubicBezTo>
                  <a:cubicBezTo>
                    <a:pt x="123" y="616"/>
                    <a:pt x="135" y="614"/>
                    <a:pt x="139" y="607"/>
                  </a:cubicBezTo>
                  <a:cubicBezTo>
                    <a:pt x="142" y="600"/>
                    <a:pt x="142" y="593"/>
                    <a:pt x="148" y="587"/>
                  </a:cubicBezTo>
                  <a:cubicBezTo>
                    <a:pt x="149" y="594"/>
                    <a:pt x="155" y="582"/>
                    <a:pt x="157" y="579"/>
                  </a:cubicBezTo>
                  <a:cubicBezTo>
                    <a:pt x="153" y="565"/>
                    <a:pt x="166" y="554"/>
                    <a:pt x="171" y="543"/>
                  </a:cubicBezTo>
                  <a:cubicBezTo>
                    <a:pt x="169" y="540"/>
                    <a:pt x="168" y="538"/>
                    <a:pt x="172" y="536"/>
                  </a:cubicBezTo>
                  <a:cubicBezTo>
                    <a:pt x="180" y="539"/>
                    <a:pt x="191" y="525"/>
                    <a:pt x="196" y="521"/>
                  </a:cubicBezTo>
                  <a:cubicBezTo>
                    <a:pt x="197" y="519"/>
                    <a:pt x="200" y="519"/>
                    <a:pt x="202" y="518"/>
                  </a:cubicBezTo>
                  <a:cubicBezTo>
                    <a:pt x="213" y="509"/>
                    <a:pt x="220" y="483"/>
                    <a:pt x="233" y="480"/>
                  </a:cubicBezTo>
                  <a:cubicBezTo>
                    <a:pt x="239" y="479"/>
                    <a:pt x="243" y="485"/>
                    <a:pt x="249" y="482"/>
                  </a:cubicBezTo>
                  <a:cubicBezTo>
                    <a:pt x="251" y="477"/>
                    <a:pt x="258" y="477"/>
                    <a:pt x="262" y="475"/>
                  </a:cubicBezTo>
                  <a:cubicBezTo>
                    <a:pt x="266" y="472"/>
                    <a:pt x="268" y="466"/>
                    <a:pt x="272" y="463"/>
                  </a:cubicBezTo>
                  <a:cubicBezTo>
                    <a:pt x="277" y="459"/>
                    <a:pt x="285" y="458"/>
                    <a:pt x="290" y="455"/>
                  </a:cubicBezTo>
                  <a:cubicBezTo>
                    <a:pt x="294" y="451"/>
                    <a:pt x="296" y="444"/>
                    <a:pt x="300" y="441"/>
                  </a:cubicBezTo>
                  <a:cubicBezTo>
                    <a:pt x="304" y="438"/>
                    <a:pt x="308" y="440"/>
                    <a:pt x="312" y="437"/>
                  </a:cubicBezTo>
                  <a:cubicBezTo>
                    <a:pt x="314" y="435"/>
                    <a:pt x="314" y="431"/>
                    <a:pt x="317" y="428"/>
                  </a:cubicBezTo>
                  <a:cubicBezTo>
                    <a:pt x="325" y="419"/>
                    <a:pt x="338" y="420"/>
                    <a:pt x="338" y="407"/>
                  </a:cubicBezTo>
                  <a:cubicBezTo>
                    <a:pt x="334" y="405"/>
                    <a:pt x="335" y="399"/>
                    <a:pt x="332" y="397"/>
                  </a:cubicBezTo>
                  <a:cubicBezTo>
                    <a:pt x="339" y="382"/>
                    <a:pt x="347" y="367"/>
                    <a:pt x="361" y="359"/>
                  </a:cubicBezTo>
                  <a:cubicBezTo>
                    <a:pt x="361" y="356"/>
                    <a:pt x="359" y="356"/>
                    <a:pt x="360" y="354"/>
                  </a:cubicBezTo>
                  <a:cubicBezTo>
                    <a:pt x="365" y="351"/>
                    <a:pt x="370" y="348"/>
                    <a:pt x="374" y="344"/>
                  </a:cubicBezTo>
                  <a:cubicBezTo>
                    <a:pt x="374" y="341"/>
                    <a:pt x="370" y="342"/>
                    <a:pt x="371" y="337"/>
                  </a:cubicBezTo>
                  <a:cubicBezTo>
                    <a:pt x="388" y="325"/>
                    <a:pt x="401" y="308"/>
                    <a:pt x="408" y="286"/>
                  </a:cubicBezTo>
                  <a:cubicBezTo>
                    <a:pt x="413" y="284"/>
                    <a:pt x="417" y="281"/>
                    <a:pt x="422" y="279"/>
                  </a:cubicBezTo>
                  <a:cubicBezTo>
                    <a:pt x="424" y="297"/>
                    <a:pt x="412" y="301"/>
                    <a:pt x="406" y="311"/>
                  </a:cubicBezTo>
                  <a:cubicBezTo>
                    <a:pt x="403" y="317"/>
                    <a:pt x="402" y="325"/>
                    <a:pt x="398" y="329"/>
                  </a:cubicBezTo>
                  <a:cubicBezTo>
                    <a:pt x="396" y="331"/>
                    <a:pt x="393" y="331"/>
                    <a:pt x="391" y="334"/>
                  </a:cubicBezTo>
                  <a:cubicBezTo>
                    <a:pt x="391" y="343"/>
                    <a:pt x="386" y="348"/>
                    <a:pt x="384" y="357"/>
                  </a:cubicBezTo>
                  <a:cubicBezTo>
                    <a:pt x="376" y="358"/>
                    <a:pt x="374" y="364"/>
                    <a:pt x="373" y="372"/>
                  </a:cubicBezTo>
                  <a:cubicBezTo>
                    <a:pt x="375" y="372"/>
                    <a:pt x="375" y="374"/>
                    <a:pt x="378" y="373"/>
                  </a:cubicBezTo>
                  <a:cubicBezTo>
                    <a:pt x="383" y="372"/>
                    <a:pt x="380" y="368"/>
                    <a:pt x="382" y="365"/>
                  </a:cubicBezTo>
                  <a:cubicBezTo>
                    <a:pt x="388" y="356"/>
                    <a:pt x="405" y="350"/>
                    <a:pt x="400" y="338"/>
                  </a:cubicBezTo>
                  <a:cubicBezTo>
                    <a:pt x="403" y="335"/>
                    <a:pt x="407" y="331"/>
                    <a:pt x="410" y="327"/>
                  </a:cubicBezTo>
                  <a:cubicBezTo>
                    <a:pt x="416" y="327"/>
                    <a:pt x="423" y="320"/>
                    <a:pt x="427" y="314"/>
                  </a:cubicBezTo>
                  <a:cubicBezTo>
                    <a:pt x="423" y="314"/>
                    <a:pt x="422" y="316"/>
                    <a:pt x="419" y="316"/>
                  </a:cubicBezTo>
                  <a:cubicBezTo>
                    <a:pt x="414" y="306"/>
                    <a:pt x="425" y="301"/>
                    <a:pt x="432" y="296"/>
                  </a:cubicBezTo>
                  <a:cubicBezTo>
                    <a:pt x="440" y="280"/>
                    <a:pt x="440" y="261"/>
                    <a:pt x="455" y="252"/>
                  </a:cubicBezTo>
                  <a:cubicBezTo>
                    <a:pt x="463" y="252"/>
                    <a:pt x="465" y="246"/>
                    <a:pt x="472" y="245"/>
                  </a:cubicBezTo>
                  <a:cubicBezTo>
                    <a:pt x="470" y="233"/>
                    <a:pt x="485" y="234"/>
                    <a:pt x="481" y="223"/>
                  </a:cubicBezTo>
                  <a:cubicBezTo>
                    <a:pt x="483" y="221"/>
                    <a:pt x="486" y="221"/>
                    <a:pt x="486" y="216"/>
                  </a:cubicBezTo>
                  <a:cubicBezTo>
                    <a:pt x="487" y="213"/>
                    <a:pt x="482" y="216"/>
                    <a:pt x="483" y="213"/>
                  </a:cubicBezTo>
                  <a:cubicBezTo>
                    <a:pt x="491" y="213"/>
                    <a:pt x="494" y="204"/>
                    <a:pt x="492" y="196"/>
                  </a:cubicBezTo>
                  <a:cubicBezTo>
                    <a:pt x="493" y="194"/>
                    <a:pt x="497" y="194"/>
                    <a:pt x="497" y="191"/>
                  </a:cubicBezTo>
                  <a:cubicBezTo>
                    <a:pt x="497" y="186"/>
                    <a:pt x="492" y="186"/>
                    <a:pt x="492" y="182"/>
                  </a:cubicBezTo>
                  <a:cubicBezTo>
                    <a:pt x="495" y="167"/>
                    <a:pt x="487" y="159"/>
                    <a:pt x="484" y="146"/>
                  </a:cubicBezTo>
                  <a:cubicBezTo>
                    <a:pt x="484" y="141"/>
                    <a:pt x="491" y="134"/>
                    <a:pt x="487" y="130"/>
                  </a:cubicBezTo>
                  <a:cubicBezTo>
                    <a:pt x="498" y="125"/>
                    <a:pt x="507" y="118"/>
                    <a:pt x="512" y="111"/>
                  </a:cubicBezTo>
                  <a:cubicBezTo>
                    <a:pt x="507" y="109"/>
                    <a:pt x="503" y="115"/>
                    <a:pt x="498" y="116"/>
                  </a:cubicBezTo>
                  <a:cubicBezTo>
                    <a:pt x="498" y="114"/>
                    <a:pt x="498" y="114"/>
                    <a:pt x="499" y="113"/>
                  </a:cubicBezTo>
                  <a:cubicBezTo>
                    <a:pt x="492" y="118"/>
                    <a:pt x="487" y="126"/>
                    <a:pt x="479" y="130"/>
                  </a:cubicBezTo>
                  <a:cubicBezTo>
                    <a:pt x="478" y="133"/>
                    <a:pt x="481" y="132"/>
                    <a:pt x="482" y="134"/>
                  </a:cubicBezTo>
                  <a:cubicBezTo>
                    <a:pt x="479" y="133"/>
                    <a:pt x="478" y="135"/>
                    <a:pt x="476" y="135"/>
                  </a:cubicBezTo>
                  <a:cubicBezTo>
                    <a:pt x="477" y="137"/>
                    <a:pt x="478" y="141"/>
                    <a:pt x="474" y="141"/>
                  </a:cubicBezTo>
                  <a:cubicBezTo>
                    <a:pt x="472" y="135"/>
                    <a:pt x="473" y="130"/>
                    <a:pt x="478" y="125"/>
                  </a:cubicBezTo>
                  <a:cubicBezTo>
                    <a:pt x="480" y="123"/>
                    <a:pt x="484" y="123"/>
                    <a:pt x="487" y="121"/>
                  </a:cubicBezTo>
                  <a:cubicBezTo>
                    <a:pt x="489" y="120"/>
                    <a:pt x="489" y="118"/>
                    <a:pt x="490" y="117"/>
                  </a:cubicBezTo>
                  <a:cubicBezTo>
                    <a:pt x="496" y="112"/>
                    <a:pt x="503" y="113"/>
                    <a:pt x="508" y="108"/>
                  </a:cubicBezTo>
                  <a:cubicBezTo>
                    <a:pt x="503" y="106"/>
                    <a:pt x="506" y="101"/>
                    <a:pt x="510" y="99"/>
                  </a:cubicBezTo>
                  <a:cubicBezTo>
                    <a:pt x="509" y="100"/>
                    <a:pt x="519" y="101"/>
                    <a:pt x="516" y="97"/>
                  </a:cubicBezTo>
                  <a:cubicBezTo>
                    <a:pt x="514" y="96"/>
                    <a:pt x="512" y="100"/>
                    <a:pt x="511" y="97"/>
                  </a:cubicBezTo>
                  <a:cubicBezTo>
                    <a:pt x="511" y="95"/>
                    <a:pt x="510" y="95"/>
                    <a:pt x="511" y="94"/>
                  </a:cubicBezTo>
                  <a:cubicBezTo>
                    <a:pt x="515" y="96"/>
                    <a:pt x="520" y="97"/>
                    <a:pt x="523" y="93"/>
                  </a:cubicBezTo>
                  <a:cubicBezTo>
                    <a:pt x="521" y="91"/>
                    <a:pt x="519" y="95"/>
                    <a:pt x="519" y="93"/>
                  </a:cubicBezTo>
                  <a:cubicBezTo>
                    <a:pt x="517" y="87"/>
                    <a:pt x="525" y="87"/>
                    <a:pt x="529" y="82"/>
                  </a:cubicBezTo>
                  <a:cubicBezTo>
                    <a:pt x="531" y="78"/>
                    <a:pt x="530" y="72"/>
                    <a:pt x="534" y="71"/>
                  </a:cubicBezTo>
                  <a:cubicBezTo>
                    <a:pt x="535" y="71"/>
                    <a:pt x="538" y="78"/>
                    <a:pt x="539" y="73"/>
                  </a:cubicBezTo>
                  <a:cubicBezTo>
                    <a:pt x="539" y="69"/>
                    <a:pt x="537" y="71"/>
                    <a:pt x="537" y="66"/>
                  </a:cubicBezTo>
                  <a:cubicBezTo>
                    <a:pt x="540" y="66"/>
                    <a:pt x="539" y="64"/>
                    <a:pt x="541" y="64"/>
                  </a:cubicBezTo>
                  <a:cubicBezTo>
                    <a:pt x="541" y="67"/>
                    <a:pt x="538" y="68"/>
                    <a:pt x="540" y="70"/>
                  </a:cubicBezTo>
                  <a:cubicBezTo>
                    <a:pt x="543" y="70"/>
                    <a:pt x="542" y="67"/>
                    <a:pt x="545" y="68"/>
                  </a:cubicBezTo>
                  <a:cubicBezTo>
                    <a:pt x="543" y="69"/>
                    <a:pt x="541" y="74"/>
                    <a:pt x="545" y="74"/>
                  </a:cubicBezTo>
                  <a:cubicBezTo>
                    <a:pt x="549" y="70"/>
                    <a:pt x="548" y="67"/>
                    <a:pt x="551" y="63"/>
                  </a:cubicBezTo>
                  <a:cubicBezTo>
                    <a:pt x="547" y="63"/>
                    <a:pt x="544" y="67"/>
                    <a:pt x="542" y="63"/>
                  </a:cubicBezTo>
                  <a:cubicBezTo>
                    <a:pt x="547" y="61"/>
                    <a:pt x="548" y="62"/>
                    <a:pt x="554" y="59"/>
                  </a:cubicBezTo>
                  <a:cubicBezTo>
                    <a:pt x="553" y="60"/>
                    <a:pt x="552" y="61"/>
                    <a:pt x="554" y="62"/>
                  </a:cubicBezTo>
                  <a:cubicBezTo>
                    <a:pt x="568" y="51"/>
                    <a:pt x="591" y="49"/>
                    <a:pt x="609" y="42"/>
                  </a:cubicBezTo>
                  <a:cubicBezTo>
                    <a:pt x="609" y="43"/>
                    <a:pt x="611" y="43"/>
                    <a:pt x="612" y="43"/>
                  </a:cubicBezTo>
                  <a:cubicBezTo>
                    <a:pt x="611" y="44"/>
                    <a:pt x="611" y="45"/>
                    <a:pt x="612" y="47"/>
                  </a:cubicBezTo>
                  <a:cubicBezTo>
                    <a:pt x="622" y="44"/>
                    <a:pt x="628" y="50"/>
                    <a:pt x="635" y="48"/>
                  </a:cubicBezTo>
                  <a:cubicBezTo>
                    <a:pt x="635" y="45"/>
                    <a:pt x="631" y="48"/>
                    <a:pt x="633" y="44"/>
                  </a:cubicBezTo>
                  <a:cubicBezTo>
                    <a:pt x="637" y="45"/>
                    <a:pt x="640" y="47"/>
                    <a:pt x="645" y="47"/>
                  </a:cubicBezTo>
                  <a:cubicBezTo>
                    <a:pt x="646" y="48"/>
                    <a:pt x="646" y="49"/>
                    <a:pt x="645" y="50"/>
                  </a:cubicBezTo>
                  <a:cubicBezTo>
                    <a:pt x="649" y="50"/>
                    <a:pt x="651" y="52"/>
                    <a:pt x="653" y="54"/>
                  </a:cubicBezTo>
                  <a:cubicBezTo>
                    <a:pt x="648" y="58"/>
                    <a:pt x="643" y="48"/>
                    <a:pt x="639" y="54"/>
                  </a:cubicBezTo>
                  <a:cubicBezTo>
                    <a:pt x="646" y="57"/>
                    <a:pt x="652" y="62"/>
                    <a:pt x="661" y="59"/>
                  </a:cubicBezTo>
                  <a:cubicBezTo>
                    <a:pt x="661" y="52"/>
                    <a:pt x="653" y="59"/>
                    <a:pt x="652" y="55"/>
                  </a:cubicBezTo>
                  <a:cubicBezTo>
                    <a:pt x="672" y="52"/>
                    <a:pt x="695" y="70"/>
                    <a:pt x="717" y="64"/>
                  </a:cubicBezTo>
                  <a:cubicBezTo>
                    <a:pt x="725" y="68"/>
                    <a:pt x="736" y="69"/>
                    <a:pt x="747" y="71"/>
                  </a:cubicBezTo>
                  <a:cubicBezTo>
                    <a:pt x="744" y="64"/>
                    <a:pt x="738" y="68"/>
                    <a:pt x="732" y="67"/>
                  </a:cubicBezTo>
                  <a:close/>
                  <a:moveTo>
                    <a:pt x="60" y="652"/>
                  </a:moveTo>
                  <a:cubicBezTo>
                    <a:pt x="56" y="649"/>
                    <a:pt x="61" y="641"/>
                    <a:pt x="61" y="636"/>
                  </a:cubicBezTo>
                  <a:cubicBezTo>
                    <a:pt x="66" y="642"/>
                    <a:pt x="62" y="646"/>
                    <a:pt x="60" y="652"/>
                  </a:cubicBezTo>
                  <a:close/>
                  <a:moveTo>
                    <a:pt x="380" y="1401"/>
                  </a:moveTo>
                  <a:cubicBezTo>
                    <a:pt x="381" y="1407"/>
                    <a:pt x="388" y="1407"/>
                    <a:pt x="384" y="1414"/>
                  </a:cubicBezTo>
                  <a:cubicBezTo>
                    <a:pt x="381" y="1414"/>
                    <a:pt x="383" y="1410"/>
                    <a:pt x="381" y="1410"/>
                  </a:cubicBezTo>
                  <a:cubicBezTo>
                    <a:pt x="381" y="1409"/>
                    <a:pt x="383" y="1409"/>
                    <a:pt x="384" y="1409"/>
                  </a:cubicBezTo>
                  <a:cubicBezTo>
                    <a:pt x="382" y="1407"/>
                    <a:pt x="382" y="1405"/>
                    <a:pt x="379" y="1405"/>
                  </a:cubicBezTo>
                  <a:cubicBezTo>
                    <a:pt x="380" y="1407"/>
                    <a:pt x="373" y="1409"/>
                    <a:pt x="373" y="1404"/>
                  </a:cubicBezTo>
                  <a:cubicBezTo>
                    <a:pt x="377" y="1403"/>
                    <a:pt x="375" y="1402"/>
                    <a:pt x="380" y="1401"/>
                  </a:cubicBezTo>
                  <a:close/>
                  <a:moveTo>
                    <a:pt x="119" y="1239"/>
                  </a:moveTo>
                  <a:cubicBezTo>
                    <a:pt x="118" y="1237"/>
                    <a:pt x="117" y="1236"/>
                    <a:pt x="116" y="1234"/>
                  </a:cubicBezTo>
                  <a:cubicBezTo>
                    <a:pt x="116" y="1236"/>
                    <a:pt x="117" y="1238"/>
                    <a:pt x="119" y="1239"/>
                  </a:cubicBezTo>
                  <a:close/>
                  <a:moveTo>
                    <a:pt x="1279" y="110"/>
                  </a:moveTo>
                  <a:cubicBezTo>
                    <a:pt x="1291" y="112"/>
                    <a:pt x="1291" y="124"/>
                    <a:pt x="1301" y="127"/>
                  </a:cubicBezTo>
                  <a:cubicBezTo>
                    <a:pt x="1304" y="123"/>
                    <a:pt x="1297" y="119"/>
                    <a:pt x="1301" y="115"/>
                  </a:cubicBezTo>
                  <a:cubicBezTo>
                    <a:pt x="1292" y="82"/>
                    <a:pt x="1253" y="76"/>
                    <a:pt x="1235" y="55"/>
                  </a:cubicBezTo>
                  <a:cubicBezTo>
                    <a:pt x="1241" y="60"/>
                    <a:pt x="1248" y="64"/>
                    <a:pt x="1255" y="68"/>
                  </a:cubicBezTo>
                  <a:cubicBezTo>
                    <a:pt x="1256" y="65"/>
                    <a:pt x="1251" y="64"/>
                    <a:pt x="1254" y="63"/>
                  </a:cubicBezTo>
                  <a:cubicBezTo>
                    <a:pt x="1269" y="69"/>
                    <a:pt x="1280" y="82"/>
                    <a:pt x="1295" y="85"/>
                  </a:cubicBezTo>
                  <a:cubicBezTo>
                    <a:pt x="1294" y="85"/>
                    <a:pt x="1292" y="83"/>
                    <a:pt x="1294" y="83"/>
                  </a:cubicBezTo>
                  <a:cubicBezTo>
                    <a:pt x="1321" y="93"/>
                    <a:pt x="1341" y="109"/>
                    <a:pt x="1361" y="126"/>
                  </a:cubicBezTo>
                  <a:cubicBezTo>
                    <a:pt x="1363" y="128"/>
                    <a:pt x="1364" y="125"/>
                    <a:pt x="1366" y="127"/>
                  </a:cubicBezTo>
                  <a:cubicBezTo>
                    <a:pt x="1365" y="131"/>
                    <a:pt x="1368" y="130"/>
                    <a:pt x="1368" y="133"/>
                  </a:cubicBezTo>
                  <a:cubicBezTo>
                    <a:pt x="1365" y="131"/>
                    <a:pt x="1363" y="128"/>
                    <a:pt x="1359" y="127"/>
                  </a:cubicBezTo>
                  <a:cubicBezTo>
                    <a:pt x="1359" y="129"/>
                    <a:pt x="1359" y="131"/>
                    <a:pt x="1358" y="131"/>
                  </a:cubicBezTo>
                  <a:cubicBezTo>
                    <a:pt x="1355" y="128"/>
                    <a:pt x="1352" y="125"/>
                    <a:pt x="1348" y="122"/>
                  </a:cubicBezTo>
                  <a:cubicBezTo>
                    <a:pt x="1357" y="133"/>
                    <a:pt x="1366" y="147"/>
                    <a:pt x="1370" y="159"/>
                  </a:cubicBezTo>
                  <a:cubicBezTo>
                    <a:pt x="1370" y="158"/>
                    <a:pt x="1372" y="157"/>
                    <a:pt x="1373" y="157"/>
                  </a:cubicBezTo>
                  <a:cubicBezTo>
                    <a:pt x="1376" y="162"/>
                    <a:pt x="1381" y="165"/>
                    <a:pt x="1383" y="170"/>
                  </a:cubicBezTo>
                  <a:cubicBezTo>
                    <a:pt x="1383" y="175"/>
                    <a:pt x="1380" y="175"/>
                    <a:pt x="1383" y="179"/>
                  </a:cubicBezTo>
                  <a:cubicBezTo>
                    <a:pt x="1386" y="177"/>
                    <a:pt x="1390" y="179"/>
                    <a:pt x="1393" y="183"/>
                  </a:cubicBezTo>
                  <a:cubicBezTo>
                    <a:pt x="1386" y="167"/>
                    <a:pt x="1375" y="155"/>
                    <a:pt x="1367" y="141"/>
                  </a:cubicBezTo>
                  <a:cubicBezTo>
                    <a:pt x="1395" y="168"/>
                    <a:pt x="1421" y="203"/>
                    <a:pt x="1450" y="226"/>
                  </a:cubicBezTo>
                  <a:cubicBezTo>
                    <a:pt x="1454" y="228"/>
                    <a:pt x="1451" y="223"/>
                    <a:pt x="1453" y="223"/>
                  </a:cubicBezTo>
                  <a:cubicBezTo>
                    <a:pt x="1457" y="230"/>
                    <a:pt x="1464" y="234"/>
                    <a:pt x="1469" y="241"/>
                  </a:cubicBezTo>
                  <a:cubicBezTo>
                    <a:pt x="1476" y="250"/>
                    <a:pt x="1489" y="260"/>
                    <a:pt x="1492" y="268"/>
                  </a:cubicBezTo>
                  <a:cubicBezTo>
                    <a:pt x="1492" y="271"/>
                    <a:pt x="1493" y="277"/>
                    <a:pt x="1493" y="280"/>
                  </a:cubicBezTo>
                  <a:cubicBezTo>
                    <a:pt x="1495" y="288"/>
                    <a:pt x="1495" y="297"/>
                    <a:pt x="1499" y="303"/>
                  </a:cubicBezTo>
                  <a:cubicBezTo>
                    <a:pt x="1502" y="307"/>
                    <a:pt x="1509" y="308"/>
                    <a:pt x="1513" y="311"/>
                  </a:cubicBezTo>
                  <a:cubicBezTo>
                    <a:pt x="1515" y="313"/>
                    <a:pt x="1514" y="318"/>
                    <a:pt x="1518" y="316"/>
                  </a:cubicBezTo>
                  <a:cubicBezTo>
                    <a:pt x="1513" y="306"/>
                    <a:pt x="1511" y="297"/>
                    <a:pt x="1505" y="287"/>
                  </a:cubicBezTo>
                  <a:cubicBezTo>
                    <a:pt x="1508" y="285"/>
                    <a:pt x="1510" y="289"/>
                    <a:pt x="1511" y="287"/>
                  </a:cubicBezTo>
                  <a:cubicBezTo>
                    <a:pt x="1508" y="282"/>
                    <a:pt x="1502" y="276"/>
                    <a:pt x="1502" y="271"/>
                  </a:cubicBezTo>
                  <a:cubicBezTo>
                    <a:pt x="1509" y="270"/>
                    <a:pt x="1514" y="284"/>
                    <a:pt x="1519" y="285"/>
                  </a:cubicBezTo>
                  <a:cubicBezTo>
                    <a:pt x="1515" y="279"/>
                    <a:pt x="1511" y="273"/>
                    <a:pt x="1507" y="267"/>
                  </a:cubicBezTo>
                  <a:cubicBezTo>
                    <a:pt x="1517" y="278"/>
                    <a:pt x="1527" y="289"/>
                    <a:pt x="1536" y="301"/>
                  </a:cubicBezTo>
                  <a:cubicBezTo>
                    <a:pt x="1534" y="301"/>
                    <a:pt x="1533" y="299"/>
                    <a:pt x="1533" y="301"/>
                  </a:cubicBezTo>
                  <a:cubicBezTo>
                    <a:pt x="1534" y="303"/>
                    <a:pt x="1536" y="304"/>
                    <a:pt x="1537" y="308"/>
                  </a:cubicBezTo>
                  <a:cubicBezTo>
                    <a:pt x="1532" y="303"/>
                    <a:pt x="1529" y="298"/>
                    <a:pt x="1523" y="297"/>
                  </a:cubicBezTo>
                  <a:cubicBezTo>
                    <a:pt x="1532" y="309"/>
                    <a:pt x="1543" y="319"/>
                    <a:pt x="1550" y="333"/>
                  </a:cubicBezTo>
                  <a:cubicBezTo>
                    <a:pt x="1545" y="340"/>
                    <a:pt x="1555" y="346"/>
                    <a:pt x="1552" y="356"/>
                  </a:cubicBezTo>
                  <a:cubicBezTo>
                    <a:pt x="1553" y="358"/>
                    <a:pt x="1556" y="358"/>
                    <a:pt x="1558" y="359"/>
                  </a:cubicBezTo>
                  <a:cubicBezTo>
                    <a:pt x="1557" y="362"/>
                    <a:pt x="1554" y="361"/>
                    <a:pt x="1555" y="364"/>
                  </a:cubicBezTo>
                  <a:cubicBezTo>
                    <a:pt x="1557" y="367"/>
                    <a:pt x="1563" y="371"/>
                    <a:pt x="1562" y="374"/>
                  </a:cubicBezTo>
                  <a:cubicBezTo>
                    <a:pt x="1559" y="373"/>
                    <a:pt x="1558" y="369"/>
                    <a:pt x="1554" y="369"/>
                  </a:cubicBezTo>
                  <a:cubicBezTo>
                    <a:pt x="1555" y="375"/>
                    <a:pt x="1560" y="377"/>
                    <a:pt x="1561" y="383"/>
                  </a:cubicBezTo>
                  <a:cubicBezTo>
                    <a:pt x="1586" y="415"/>
                    <a:pt x="1596" y="460"/>
                    <a:pt x="1625" y="487"/>
                  </a:cubicBezTo>
                  <a:cubicBezTo>
                    <a:pt x="1625" y="486"/>
                    <a:pt x="1625" y="484"/>
                    <a:pt x="1626" y="484"/>
                  </a:cubicBezTo>
                  <a:cubicBezTo>
                    <a:pt x="1632" y="501"/>
                    <a:pt x="1644" y="510"/>
                    <a:pt x="1648" y="528"/>
                  </a:cubicBezTo>
                  <a:cubicBezTo>
                    <a:pt x="1651" y="524"/>
                    <a:pt x="1644" y="518"/>
                    <a:pt x="1647" y="514"/>
                  </a:cubicBezTo>
                  <a:cubicBezTo>
                    <a:pt x="1656" y="534"/>
                    <a:pt x="1671" y="555"/>
                    <a:pt x="1668" y="580"/>
                  </a:cubicBezTo>
                  <a:cubicBezTo>
                    <a:pt x="1668" y="585"/>
                    <a:pt x="1664" y="588"/>
                    <a:pt x="1663" y="592"/>
                  </a:cubicBezTo>
                  <a:cubicBezTo>
                    <a:pt x="1663" y="595"/>
                    <a:pt x="1665" y="598"/>
                    <a:pt x="1665" y="600"/>
                  </a:cubicBezTo>
                  <a:cubicBezTo>
                    <a:pt x="1668" y="621"/>
                    <a:pt x="1667" y="635"/>
                    <a:pt x="1672" y="650"/>
                  </a:cubicBezTo>
                  <a:cubicBezTo>
                    <a:pt x="1674" y="657"/>
                    <a:pt x="1679" y="663"/>
                    <a:pt x="1682" y="671"/>
                  </a:cubicBezTo>
                  <a:cubicBezTo>
                    <a:pt x="1684" y="682"/>
                    <a:pt x="1682" y="693"/>
                    <a:pt x="1689" y="701"/>
                  </a:cubicBezTo>
                  <a:cubicBezTo>
                    <a:pt x="1689" y="678"/>
                    <a:pt x="1689" y="678"/>
                    <a:pt x="1689" y="678"/>
                  </a:cubicBezTo>
                  <a:cubicBezTo>
                    <a:pt x="1695" y="680"/>
                    <a:pt x="1688" y="666"/>
                    <a:pt x="1693" y="663"/>
                  </a:cubicBezTo>
                  <a:cubicBezTo>
                    <a:pt x="1698" y="672"/>
                    <a:pt x="1697" y="688"/>
                    <a:pt x="1701" y="699"/>
                  </a:cubicBezTo>
                  <a:cubicBezTo>
                    <a:pt x="1696" y="644"/>
                    <a:pt x="1684" y="595"/>
                    <a:pt x="1668" y="548"/>
                  </a:cubicBezTo>
                  <a:cubicBezTo>
                    <a:pt x="1631" y="438"/>
                    <a:pt x="1580" y="350"/>
                    <a:pt x="1516" y="270"/>
                  </a:cubicBezTo>
                  <a:cubicBezTo>
                    <a:pt x="1452" y="190"/>
                    <a:pt x="1375" y="128"/>
                    <a:pt x="1285" y="73"/>
                  </a:cubicBezTo>
                  <a:cubicBezTo>
                    <a:pt x="1257" y="57"/>
                    <a:pt x="1214" y="32"/>
                    <a:pt x="1183" y="25"/>
                  </a:cubicBezTo>
                  <a:cubicBezTo>
                    <a:pt x="1172" y="14"/>
                    <a:pt x="1152" y="22"/>
                    <a:pt x="1135" y="23"/>
                  </a:cubicBezTo>
                  <a:cubicBezTo>
                    <a:pt x="1140" y="27"/>
                    <a:pt x="1147" y="29"/>
                    <a:pt x="1150" y="34"/>
                  </a:cubicBezTo>
                  <a:cubicBezTo>
                    <a:pt x="1155" y="30"/>
                    <a:pt x="1165" y="32"/>
                    <a:pt x="1168" y="29"/>
                  </a:cubicBezTo>
                  <a:cubicBezTo>
                    <a:pt x="1169" y="36"/>
                    <a:pt x="1178" y="35"/>
                    <a:pt x="1182" y="38"/>
                  </a:cubicBezTo>
                  <a:cubicBezTo>
                    <a:pt x="1178" y="38"/>
                    <a:pt x="1181" y="41"/>
                    <a:pt x="1178" y="44"/>
                  </a:cubicBezTo>
                  <a:cubicBezTo>
                    <a:pt x="1195" y="45"/>
                    <a:pt x="1207" y="59"/>
                    <a:pt x="1222" y="63"/>
                  </a:cubicBezTo>
                  <a:cubicBezTo>
                    <a:pt x="1223" y="63"/>
                    <a:pt x="1226" y="62"/>
                    <a:pt x="1227" y="62"/>
                  </a:cubicBezTo>
                  <a:cubicBezTo>
                    <a:pt x="1230" y="62"/>
                    <a:pt x="1233" y="65"/>
                    <a:pt x="1237" y="67"/>
                  </a:cubicBezTo>
                  <a:cubicBezTo>
                    <a:pt x="1237" y="67"/>
                    <a:pt x="1237" y="64"/>
                    <a:pt x="1238" y="65"/>
                  </a:cubicBezTo>
                  <a:cubicBezTo>
                    <a:pt x="1246" y="68"/>
                    <a:pt x="1253" y="73"/>
                    <a:pt x="1259" y="80"/>
                  </a:cubicBezTo>
                  <a:cubicBezTo>
                    <a:pt x="1257" y="81"/>
                    <a:pt x="1255" y="77"/>
                    <a:pt x="1254" y="80"/>
                  </a:cubicBezTo>
                  <a:cubicBezTo>
                    <a:pt x="1259" y="82"/>
                    <a:pt x="1257" y="86"/>
                    <a:pt x="1258" y="89"/>
                  </a:cubicBezTo>
                  <a:cubicBezTo>
                    <a:pt x="1264" y="90"/>
                    <a:pt x="1267" y="93"/>
                    <a:pt x="1268" y="99"/>
                  </a:cubicBezTo>
                  <a:cubicBezTo>
                    <a:pt x="1272" y="101"/>
                    <a:pt x="1276" y="102"/>
                    <a:pt x="1278" y="104"/>
                  </a:cubicBezTo>
                  <a:cubicBezTo>
                    <a:pt x="1278" y="107"/>
                    <a:pt x="1279" y="108"/>
                    <a:pt x="1279" y="110"/>
                  </a:cubicBezTo>
                  <a:close/>
                  <a:moveTo>
                    <a:pt x="1357" y="178"/>
                  </a:moveTo>
                  <a:cubicBezTo>
                    <a:pt x="1361" y="180"/>
                    <a:pt x="1366" y="187"/>
                    <a:pt x="1370" y="186"/>
                  </a:cubicBezTo>
                  <a:cubicBezTo>
                    <a:pt x="1366" y="183"/>
                    <a:pt x="1362" y="176"/>
                    <a:pt x="1357" y="178"/>
                  </a:cubicBezTo>
                  <a:close/>
                  <a:moveTo>
                    <a:pt x="1406" y="207"/>
                  </a:moveTo>
                  <a:cubicBezTo>
                    <a:pt x="1400" y="202"/>
                    <a:pt x="1401" y="190"/>
                    <a:pt x="1393" y="188"/>
                  </a:cubicBezTo>
                  <a:cubicBezTo>
                    <a:pt x="1392" y="190"/>
                    <a:pt x="1392" y="193"/>
                    <a:pt x="1391" y="194"/>
                  </a:cubicBezTo>
                  <a:cubicBezTo>
                    <a:pt x="1382" y="196"/>
                    <a:pt x="1379" y="193"/>
                    <a:pt x="1373" y="189"/>
                  </a:cubicBezTo>
                  <a:cubicBezTo>
                    <a:pt x="1375" y="193"/>
                    <a:pt x="1380" y="193"/>
                    <a:pt x="1382" y="195"/>
                  </a:cubicBezTo>
                  <a:cubicBezTo>
                    <a:pt x="1383" y="198"/>
                    <a:pt x="1381" y="198"/>
                    <a:pt x="1381" y="200"/>
                  </a:cubicBezTo>
                  <a:cubicBezTo>
                    <a:pt x="1389" y="204"/>
                    <a:pt x="1394" y="209"/>
                    <a:pt x="1400" y="215"/>
                  </a:cubicBezTo>
                  <a:cubicBezTo>
                    <a:pt x="1404" y="211"/>
                    <a:pt x="1409" y="213"/>
                    <a:pt x="1413" y="215"/>
                  </a:cubicBezTo>
                  <a:cubicBezTo>
                    <a:pt x="1413" y="217"/>
                    <a:pt x="1411" y="217"/>
                    <a:pt x="1410" y="216"/>
                  </a:cubicBezTo>
                  <a:cubicBezTo>
                    <a:pt x="1411" y="221"/>
                    <a:pt x="1415" y="222"/>
                    <a:pt x="1419" y="224"/>
                  </a:cubicBezTo>
                  <a:cubicBezTo>
                    <a:pt x="1416" y="217"/>
                    <a:pt x="1415" y="208"/>
                    <a:pt x="1406" y="207"/>
                  </a:cubicBezTo>
                  <a:close/>
                  <a:moveTo>
                    <a:pt x="1504" y="338"/>
                  </a:moveTo>
                  <a:cubicBezTo>
                    <a:pt x="1504" y="338"/>
                    <a:pt x="1503" y="338"/>
                    <a:pt x="1503" y="337"/>
                  </a:cubicBezTo>
                  <a:cubicBezTo>
                    <a:pt x="1503" y="338"/>
                    <a:pt x="1503" y="339"/>
                    <a:pt x="1504" y="338"/>
                  </a:cubicBezTo>
                  <a:close/>
                  <a:moveTo>
                    <a:pt x="1506" y="326"/>
                  </a:moveTo>
                  <a:cubicBezTo>
                    <a:pt x="1504" y="318"/>
                    <a:pt x="1500" y="311"/>
                    <a:pt x="1492" y="313"/>
                  </a:cubicBezTo>
                  <a:cubicBezTo>
                    <a:pt x="1493" y="323"/>
                    <a:pt x="1498" y="333"/>
                    <a:pt x="1503" y="337"/>
                  </a:cubicBezTo>
                  <a:cubicBezTo>
                    <a:pt x="1503" y="336"/>
                    <a:pt x="1503" y="334"/>
                    <a:pt x="1504" y="335"/>
                  </a:cubicBezTo>
                  <a:cubicBezTo>
                    <a:pt x="1506" y="336"/>
                    <a:pt x="1505" y="340"/>
                    <a:pt x="1509" y="340"/>
                  </a:cubicBezTo>
                  <a:cubicBezTo>
                    <a:pt x="1508" y="331"/>
                    <a:pt x="1504" y="330"/>
                    <a:pt x="1502" y="323"/>
                  </a:cubicBezTo>
                  <a:cubicBezTo>
                    <a:pt x="1504" y="323"/>
                    <a:pt x="1504" y="326"/>
                    <a:pt x="1506" y="326"/>
                  </a:cubicBezTo>
                  <a:close/>
                  <a:moveTo>
                    <a:pt x="1696" y="874"/>
                  </a:moveTo>
                  <a:cubicBezTo>
                    <a:pt x="1696" y="872"/>
                    <a:pt x="1697" y="872"/>
                    <a:pt x="1698" y="873"/>
                  </a:cubicBezTo>
                  <a:cubicBezTo>
                    <a:pt x="1698" y="869"/>
                    <a:pt x="1702" y="864"/>
                    <a:pt x="1699" y="861"/>
                  </a:cubicBezTo>
                  <a:cubicBezTo>
                    <a:pt x="1699" y="866"/>
                    <a:pt x="1695" y="872"/>
                    <a:pt x="1696" y="874"/>
                  </a:cubicBezTo>
                  <a:close/>
                  <a:moveTo>
                    <a:pt x="824" y="1523"/>
                  </a:moveTo>
                  <a:cubicBezTo>
                    <a:pt x="826" y="1525"/>
                    <a:pt x="831" y="1524"/>
                    <a:pt x="833" y="1523"/>
                  </a:cubicBezTo>
                  <a:cubicBezTo>
                    <a:pt x="833" y="1525"/>
                    <a:pt x="833" y="1526"/>
                    <a:pt x="834" y="1527"/>
                  </a:cubicBezTo>
                  <a:cubicBezTo>
                    <a:pt x="832" y="1527"/>
                    <a:pt x="830" y="1528"/>
                    <a:pt x="829" y="1530"/>
                  </a:cubicBezTo>
                  <a:cubicBezTo>
                    <a:pt x="836" y="1537"/>
                    <a:pt x="841" y="1523"/>
                    <a:pt x="845" y="1528"/>
                  </a:cubicBezTo>
                  <a:cubicBezTo>
                    <a:pt x="847" y="1522"/>
                    <a:pt x="852" y="1519"/>
                    <a:pt x="855" y="1515"/>
                  </a:cubicBezTo>
                  <a:cubicBezTo>
                    <a:pt x="846" y="1516"/>
                    <a:pt x="829" y="1515"/>
                    <a:pt x="824" y="1523"/>
                  </a:cubicBezTo>
                  <a:close/>
                </a:path>
              </a:pathLst>
            </a:custGeom>
            <a:solidFill>
              <a:srgbClr val="D8D8D8">
                <a:alpha val="85001"/>
              </a:srgb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2" name="Freeform 6"/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2189163" y="1563688"/>
              <a:ext cx="4772025" cy="4387850"/>
            </a:xfrm>
            <a:custGeom>
              <a:avLst/>
              <a:gdLst/>
              <a:ahLst/>
              <a:cxnLst>
                <a:cxn ang="0">
                  <a:pos x="637" y="47"/>
                </a:cxn>
                <a:cxn ang="0">
                  <a:pos x="1203" y="164"/>
                </a:cxn>
                <a:cxn ang="0">
                  <a:pos x="1264" y="231"/>
                </a:cxn>
                <a:cxn ang="0">
                  <a:pos x="1304" y="268"/>
                </a:cxn>
                <a:cxn ang="0">
                  <a:pos x="684" y="326"/>
                </a:cxn>
                <a:cxn ang="0">
                  <a:pos x="1416" y="502"/>
                </a:cxn>
                <a:cxn ang="0">
                  <a:pos x="1387" y="511"/>
                </a:cxn>
                <a:cxn ang="0">
                  <a:pos x="1389" y="497"/>
                </a:cxn>
                <a:cxn ang="0">
                  <a:pos x="1399" y="574"/>
                </a:cxn>
                <a:cxn ang="0">
                  <a:pos x="1452" y="689"/>
                </a:cxn>
                <a:cxn ang="0">
                  <a:pos x="1462" y="604"/>
                </a:cxn>
                <a:cxn ang="0">
                  <a:pos x="1427" y="584"/>
                </a:cxn>
                <a:cxn ang="0">
                  <a:pos x="1362" y="601"/>
                </a:cxn>
                <a:cxn ang="0">
                  <a:pos x="1129" y="629"/>
                </a:cxn>
                <a:cxn ang="0">
                  <a:pos x="1409" y="654"/>
                </a:cxn>
                <a:cxn ang="0">
                  <a:pos x="1348" y="639"/>
                </a:cxn>
                <a:cxn ang="0">
                  <a:pos x="1218" y="644"/>
                </a:cxn>
                <a:cxn ang="0">
                  <a:pos x="1214" y="692"/>
                </a:cxn>
                <a:cxn ang="0">
                  <a:pos x="1319" y="650"/>
                </a:cxn>
                <a:cxn ang="0">
                  <a:pos x="1089" y="654"/>
                </a:cxn>
                <a:cxn ang="0">
                  <a:pos x="1076" y="658"/>
                </a:cxn>
                <a:cxn ang="0">
                  <a:pos x="1409" y="674"/>
                </a:cxn>
                <a:cxn ang="0">
                  <a:pos x="74" y="678"/>
                </a:cxn>
                <a:cxn ang="0">
                  <a:pos x="1017" y="702"/>
                </a:cxn>
                <a:cxn ang="0">
                  <a:pos x="1419" y="978"/>
                </a:cxn>
                <a:cxn ang="0">
                  <a:pos x="1353" y="842"/>
                </a:cxn>
                <a:cxn ang="0">
                  <a:pos x="1289" y="817"/>
                </a:cxn>
                <a:cxn ang="0">
                  <a:pos x="1159" y="861"/>
                </a:cxn>
                <a:cxn ang="0">
                  <a:pos x="1139" y="1062"/>
                </a:cxn>
                <a:cxn ang="0">
                  <a:pos x="1233" y="1038"/>
                </a:cxn>
                <a:cxn ang="0">
                  <a:pos x="1330" y="1134"/>
                </a:cxn>
                <a:cxn ang="0">
                  <a:pos x="1423" y="745"/>
                </a:cxn>
                <a:cxn ang="0">
                  <a:pos x="1389" y="752"/>
                </a:cxn>
                <a:cxn ang="0">
                  <a:pos x="1524" y="767"/>
                </a:cxn>
                <a:cxn ang="0">
                  <a:pos x="1340" y="785"/>
                </a:cxn>
                <a:cxn ang="0">
                  <a:pos x="1414" y="797"/>
                </a:cxn>
                <a:cxn ang="0">
                  <a:pos x="923" y="1049"/>
                </a:cxn>
                <a:cxn ang="0">
                  <a:pos x="966" y="1081"/>
                </a:cxn>
                <a:cxn ang="0">
                  <a:pos x="901" y="1104"/>
                </a:cxn>
                <a:cxn ang="0">
                  <a:pos x="1144" y="1116"/>
                </a:cxn>
                <a:cxn ang="0">
                  <a:pos x="372" y="1399"/>
                </a:cxn>
                <a:cxn ang="0">
                  <a:pos x="301" y="144"/>
                </a:cxn>
                <a:cxn ang="0">
                  <a:pos x="107" y="414"/>
                </a:cxn>
                <a:cxn ang="0">
                  <a:pos x="247" y="1304"/>
                </a:cxn>
                <a:cxn ang="0">
                  <a:pos x="340" y="1357"/>
                </a:cxn>
                <a:cxn ang="0">
                  <a:pos x="118" y="1127"/>
                </a:cxn>
                <a:cxn ang="0">
                  <a:pos x="28" y="622"/>
                </a:cxn>
                <a:cxn ang="0">
                  <a:pos x="236" y="318"/>
                </a:cxn>
                <a:cxn ang="0">
                  <a:pos x="290" y="269"/>
                </a:cxn>
                <a:cxn ang="0">
                  <a:pos x="468" y="55"/>
                </a:cxn>
                <a:cxn ang="0">
                  <a:pos x="591" y="28"/>
                </a:cxn>
                <a:cxn ang="0">
                  <a:pos x="1042" y="33"/>
                </a:cxn>
                <a:cxn ang="0">
                  <a:pos x="1153" y="104"/>
                </a:cxn>
                <a:cxn ang="0">
                  <a:pos x="1299" y="214"/>
                </a:cxn>
                <a:cxn ang="0">
                  <a:pos x="1382" y="337"/>
                </a:cxn>
                <a:cxn ang="0">
                  <a:pos x="1509" y="558"/>
                </a:cxn>
                <a:cxn ang="0">
                  <a:pos x="89" y="417"/>
                </a:cxn>
                <a:cxn ang="0">
                  <a:pos x="1515" y="712"/>
                </a:cxn>
                <a:cxn ang="0">
                  <a:pos x="1462" y="793"/>
                </a:cxn>
                <a:cxn ang="0">
                  <a:pos x="1503" y="804"/>
                </a:cxn>
              </a:cxnLst>
              <a:rect l="0" t="0" r="r" b="b"/>
              <a:pathLst>
                <a:path w="1533" h="1409">
                  <a:moveTo>
                    <a:pt x="612" y="19"/>
                  </a:moveTo>
                  <a:cubicBezTo>
                    <a:pt x="608" y="19"/>
                    <a:pt x="605" y="19"/>
                    <a:pt x="604" y="21"/>
                  </a:cubicBezTo>
                  <a:cubicBezTo>
                    <a:pt x="606" y="23"/>
                    <a:pt x="611" y="21"/>
                    <a:pt x="612" y="19"/>
                  </a:cubicBezTo>
                  <a:close/>
                  <a:moveTo>
                    <a:pt x="548" y="33"/>
                  </a:moveTo>
                  <a:cubicBezTo>
                    <a:pt x="547" y="37"/>
                    <a:pt x="552" y="35"/>
                    <a:pt x="551" y="38"/>
                  </a:cubicBezTo>
                  <a:cubicBezTo>
                    <a:pt x="554" y="37"/>
                    <a:pt x="560" y="39"/>
                    <a:pt x="560" y="34"/>
                  </a:cubicBezTo>
                  <a:cubicBezTo>
                    <a:pt x="555" y="37"/>
                    <a:pt x="553" y="31"/>
                    <a:pt x="548" y="33"/>
                  </a:cubicBezTo>
                  <a:close/>
                  <a:moveTo>
                    <a:pt x="627" y="44"/>
                  </a:moveTo>
                  <a:cubicBezTo>
                    <a:pt x="626" y="47"/>
                    <a:pt x="632" y="48"/>
                    <a:pt x="633" y="46"/>
                  </a:cubicBezTo>
                  <a:cubicBezTo>
                    <a:pt x="631" y="45"/>
                    <a:pt x="630" y="43"/>
                    <a:pt x="627" y="44"/>
                  </a:cubicBezTo>
                  <a:close/>
                  <a:moveTo>
                    <a:pt x="637" y="47"/>
                  </a:moveTo>
                  <a:cubicBezTo>
                    <a:pt x="640" y="46"/>
                    <a:pt x="643" y="50"/>
                    <a:pt x="645" y="47"/>
                  </a:cubicBezTo>
                  <a:cubicBezTo>
                    <a:pt x="642" y="47"/>
                    <a:pt x="638" y="43"/>
                    <a:pt x="637" y="47"/>
                  </a:cubicBezTo>
                  <a:close/>
                  <a:moveTo>
                    <a:pt x="1169" y="136"/>
                  </a:moveTo>
                  <a:cubicBezTo>
                    <a:pt x="1172" y="136"/>
                    <a:pt x="1171" y="139"/>
                    <a:pt x="1171" y="142"/>
                  </a:cubicBezTo>
                  <a:cubicBezTo>
                    <a:pt x="1177" y="145"/>
                    <a:pt x="1185" y="146"/>
                    <a:pt x="1187" y="153"/>
                  </a:cubicBezTo>
                  <a:cubicBezTo>
                    <a:pt x="1193" y="152"/>
                    <a:pt x="1197" y="151"/>
                    <a:pt x="1202" y="154"/>
                  </a:cubicBezTo>
                  <a:cubicBezTo>
                    <a:pt x="1201" y="155"/>
                    <a:pt x="1199" y="155"/>
                    <a:pt x="1199" y="157"/>
                  </a:cubicBezTo>
                  <a:cubicBezTo>
                    <a:pt x="1203" y="157"/>
                    <a:pt x="1205" y="163"/>
                    <a:pt x="1208" y="161"/>
                  </a:cubicBezTo>
                  <a:cubicBezTo>
                    <a:pt x="1204" y="147"/>
                    <a:pt x="1187" y="145"/>
                    <a:pt x="1184" y="130"/>
                  </a:cubicBezTo>
                  <a:cubicBezTo>
                    <a:pt x="1182" y="131"/>
                    <a:pt x="1182" y="129"/>
                    <a:pt x="1180" y="129"/>
                  </a:cubicBezTo>
                  <a:cubicBezTo>
                    <a:pt x="1179" y="131"/>
                    <a:pt x="1179" y="134"/>
                    <a:pt x="1179" y="136"/>
                  </a:cubicBezTo>
                  <a:cubicBezTo>
                    <a:pt x="1174" y="138"/>
                    <a:pt x="1172" y="135"/>
                    <a:pt x="1169" y="136"/>
                  </a:cubicBezTo>
                  <a:close/>
                  <a:moveTo>
                    <a:pt x="1239" y="202"/>
                  </a:moveTo>
                  <a:cubicBezTo>
                    <a:pt x="1223" y="194"/>
                    <a:pt x="1216" y="177"/>
                    <a:pt x="1207" y="163"/>
                  </a:cubicBezTo>
                  <a:cubicBezTo>
                    <a:pt x="1205" y="163"/>
                    <a:pt x="1205" y="164"/>
                    <a:pt x="1203" y="164"/>
                  </a:cubicBezTo>
                  <a:cubicBezTo>
                    <a:pt x="1203" y="161"/>
                    <a:pt x="1202" y="159"/>
                    <a:pt x="1199" y="159"/>
                  </a:cubicBezTo>
                  <a:cubicBezTo>
                    <a:pt x="1199" y="162"/>
                    <a:pt x="1202" y="162"/>
                    <a:pt x="1202" y="166"/>
                  </a:cubicBezTo>
                  <a:cubicBezTo>
                    <a:pt x="1197" y="177"/>
                    <a:pt x="1210" y="180"/>
                    <a:pt x="1214" y="188"/>
                  </a:cubicBezTo>
                  <a:cubicBezTo>
                    <a:pt x="1217" y="195"/>
                    <a:pt x="1217" y="199"/>
                    <a:pt x="1221" y="203"/>
                  </a:cubicBezTo>
                  <a:cubicBezTo>
                    <a:pt x="1219" y="207"/>
                    <a:pt x="1225" y="216"/>
                    <a:pt x="1229" y="214"/>
                  </a:cubicBezTo>
                  <a:cubicBezTo>
                    <a:pt x="1228" y="214"/>
                    <a:pt x="1226" y="210"/>
                    <a:pt x="1228" y="210"/>
                  </a:cubicBezTo>
                  <a:cubicBezTo>
                    <a:pt x="1230" y="214"/>
                    <a:pt x="1234" y="215"/>
                    <a:pt x="1235" y="220"/>
                  </a:cubicBezTo>
                  <a:cubicBezTo>
                    <a:pt x="1238" y="221"/>
                    <a:pt x="1235" y="216"/>
                    <a:pt x="1238" y="217"/>
                  </a:cubicBezTo>
                  <a:cubicBezTo>
                    <a:pt x="1238" y="222"/>
                    <a:pt x="1245" y="224"/>
                    <a:pt x="1250" y="222"/>
                  </a:cubicBezTo>
                  <a:cubicBezTo>
                    <a:pt x="1251" y="227"/>
                    <a:pt x="1256" y="234"/>
                    <a:pt x="1263" y="236"/>
                  </a:cubicBezTo>
                  <a:cubicBezTo>
                    <a:pt x="1265" y="230"/>
                    <a:pt x="1260" y="230"/>
                    <a:pt x="1260" y="226"/>
                  </a:cubicBezTo>
                  <a:cubicBezTo>
                    <a:pt x="1264" y="226"/>
                    <a:pt x="1267" y="228"/>
                    <a:pt x="1267" y="231"/>
                  </a:cubicBezTo>
                  <a:cubicBezTo>
                    <a:pt x="1264" y="231"/>
                    <a:pt x="1264" y="231"/>
                    <a:pt x="1264" y="231"/>
                  </a:cubicBezTo>
                  <a:cubicBezTo>
                    <a:pt x="1265" y="236"/>
                    <a:pt x="1269" y="237"/>
                    <a:pt x="1270" y="241"/>
                  </a:cubicBezTo>
                  <a:cubicBezTo>
                    <a:pt x="1273" y="241"/>
                    <a:pt x="1272" y="239"/>
                    <a:pt x="1275" y="240"/>
                  </a:cubicBezTo>
                  <a:cubicBezTo>
                    <a:pt x="1277" y="242"/>
                    <a:pt x="1279" y="246"/>
                    <a:pt x="1282" y="247"/>
                  </a:cubicBezTo>
                  <a:cubicBezTo>
                    <a:pt x="1286" y="238"/>
                    <a:pt x="1273" y="237"/>
                    <a:pt x="1270" y="230"/>
                  </a:cubicBezTo>
                  <a:cubicBezTo>
                    <a:pt x="1276" y="233"/>
                    <a:pt x="1280" y="240"/>
                    <a:pt x="1287" y="239"/>
                  </a:cubicBezTo>
                  <a:cubicBezTo>
                    <a:pt x="1279" y="228"/>
                    <a:pt x="1269" y="218"/>
                    <a:pt x="1252" y="216"/>
                  </a:cubicBezTo>
                  <a:cubicBezTo>
                    <a:pt x="1249" y="208"/>
                    <a:pt x="1244" y="203"/>
                    <a:pt x="1239" y="198"/>
                  </a:cubicBezTo>
                  <a:cubicBezTo>
                    <a:pt x="1237" y="200"/>
                    <a:pt x="1243" y="201"/>
                    <a:pt x="1239" y="202"/>
                  </a:cubicBezTo>
                  <a:close/>
                  <a:moveTo>
                    <a:pt x="1300" y="253"/>
                  </a:moveTo>
                  <a:cubicBezTo>
                    <a:pt x="1298" y="246"/>
                    <a:pt x="1294" y="243"/>
                    <a:pt x="1287" y="241"/>
                  </a:cubicBezTo>
                  <a:cubicBezTo>
                    <a:pt x="1284" y="250"/>
                    <a:pt x="1294" y="259"/>
                    <a:pt x="1299" y="266"/>
                  </a:cubicBezTo>
                  <a:cubicBezTo>
                    <a:pt x="1300" y="264"/>
                    <a:pt x="1296" y="262"/>
                    <a:pt x="1299" y="262"/>
                  </a:cubicBezTo>
                  <a:cubicBezTo>
                    <a:pt x="1301" y="264"/>
                    <a:pt x="1301" y="267"/>
                    <a:pt x="1304" y="268"/>
                  </a:cubicBezTo>
                  <a:cubicBezTo>
                    <a:pt x="1305" y="259"/>
                    <a:pt x="1295" y="257"/>
                    <a:pt x="1297" y="250"/>
                  </a:cubicBezTo>
                  <a:cubicBezTo>
                    <a:pt x="1296" y="253"/>
                    <a:pt x="1299" y="252"/>
                    <a:pt x="1300" y="253"/>
                  </a:cubicBezTo>
                  <a:close/>
                  <a:moveTo>
                    <a:pt x="731" y="297"/>
                  </a:moveTo>
                  <a:cubicBezTo>
                    <a:pt x="730" y="302"/>
                    <a:pt x="738" y="300"/>
                    <a:pt x="737" y="296"/>
                  </a:cubicBezTo>
                  <a:cubicBezTo>
                    <a:pt x="735" y="296"/>
                    <a:pt x="732" y="296"/>
                    <a:pt x="731" y="297"/>
                  </a:cubicBezTo>
                  <a:close/>
                  <a:moveTo>
                    <a:pt x="716" y="309"/>
                  </a:moveTo>
                  <a:cubicBezTo>
                    <a:pt x="734" y="310"/>
                    <a:pt x="716" y="289"/>
                    <a:pt x="716" y="309"/>
                  </a:cubicBezTo>
                  <a:close/>
                  <a:moveTo>
                    <a:pt x="696" y="315"/>
                  </a:moveTo>
                  <a:cubicBezTo>
                    <a:pt x="702" y="317"/>
                    <a:pt x="709" y="314"/>
                    <a:pt x="711" y="310"/>
                  </a:cubicBezTo>
                  <a:cubicBezTo>
                    <a:pt x="708" y="309"/>
                    <a:pt x="707" y="307"/>
                    <a:pt x="704" y="307"/>
                  </a:cubicBezTo>
                  <a:cubicBezTo>
                    <a:pt x="707" y="313"/>
                    <a:pt x="696" y="309"/>
                    <a:pt x="696" y="315"/>
                  </a:cubicBezTo>
                  <a:close/>
                  <a:moveTo>
                    <a:pt x="687" y="320"/>
                  </a:moveTo>
                  <a:cubicBezTo>
                    <a:pt x="686" y="323"/>
                    <a:pt x="684" y="323"/>
                    <a:pt x="684" y="326"/>
                  </a:cubicBezTo>
                  <a:cubicBezTo>
                    <a:pt x="686" y="331"/>
                    <a:pt x="698" y="333"/>
                    <a:pt x="703" y="329"/>
                  </a:cubicBezTo>
                  <a:cubicBezTo>
                    <a:pt x="704" y="325"/>
                    <a:pt x="700" y="326"/>
                    <a:pt x="700" y="323"/>
                  </a:cubicBezTo>
                  <a:cubicBezTo>
                    <a:pt x="701" y="322"/>
                    <a:pt x="705" y="323"/>
                    <a:pt x="704" y="320"/>
                  </a:cubicBezTo>
                  <a:cubicBezTo>
                    <a:pt x="699" y="316"/>
                    <a:pt x="694" y="322"/>
                    <a:pt x="687" y="320"/>
                  </a:cubicBezTo>
                  <a:close/>
                  <a:moveTo>
                    <a:pt x="1394" y="386"/>
                  </a:moveTo>
                  <a:cubicBezTo>
                    <a:pt x="1397" y="370"/>
                    <a:pt x="1385" y="356"/>
                    <a:pt x="1376" y="346"/>
                  </a:cubicBezTo>
                  <a:cubicBezTo>
                    <a:pt x="1378" y="360"/>
                    <a:pt x="1388" y="373"/>
                    <a:pt x="1394" y="386"/>
                  </a:cubicBezTo>
                  <a:close/>
                  <a:moveTo>
                    <a:pt x="1397" y="469"/>
                  </a:moveTo>
                  <a:cubicBezTo>
                    <a:pt x="1393" y="473"/>
                    <a:pt x="1393" y="484"/>
                    <a:pt x="1399" y="486"/>
                  </a:cubicBezTo>
                  <a:cubicBezTo>
                    <a:pt x="1402" y="484"/>
                    <a:pt x="1400" y="477"/>
                    <a:pt x="1403" y="476"/>
                  </a:cubicBezTo>
                  <a:cubicBezTo>
                    <a:pt x="1404" y="477"/>
                    <a:pt x="1403" y="480"/>
                    <a:pt x="1405" y="482"/>
                  </a:cubicBezTo>
                  <a:cubicBezTo>
                    <a:pt x="1408" y="483"/>
                    <a:pt x="1406" y="478"/>
                    <a:pt x="1409" y="479"/>
                  </a:cubicBezTo>
                  <a:cubicBezTo>
                    <a:pt x="1417" y="482"/>
                    <a:pt x="1408" y="498"/>
                    <a:pt x="1416" y="502"/>
                  </a:cubicBezTo>
                  <a:cubicBezTo>
                    <a:pt x="1415" y="494"/>
                    <a:pt x="1420" y="487"/>
                    <a:pt x="1414" y="484"/>
                  </a:cubicBezTo>
                  <a:cubicBezTo>
                    <a:pt x="1416" y="476"/>
                    <a:pt x="1424" y="461"/>
                    <a:pt x="1414" y="456"/>
                  </a:cubicBezTo>
                  <a:cubicBezTo>
                    <a:pt x="1412" y="445"/>
                    <a:pt x="1409" y="435"/>
                    <a:pt x="1405" y="426"/>
                  </a:cubicBezTo>
                  <a:cubicBezTo>
                    <a:pt x="1400" y="426"/>
                    <a:pt x="1399" y="422"/>
                    <a:pt x="1395" y="420"/>
                  </a:cubicBezTo>
                  <a:cubicBezTo>
                    <a:pt x="1395" y="439"/>
                    <a:pt x="1408" y="455"/>
                    <a:pt x="1407" y="474"/>
                  </a:cubicBezTo>
                  <a:cubicBezTo>
                    <a:pt x="1406" y="471"/>
                    <a:pt x="1399" y="472"/>
                    <a:pt x="1397" y="469"/>
                  </a:cubicBezTo>
                  <a:close/>
                  <a:moveTo>
                    <a:pt x="1464" y="460"/>
                  </a:moveTo>
                  <a:cubicBezTo>
                    <a:pt x="1464" y="451"/>
                    <a:pt x="1459" y="439"/>
                    <a:pt x="1451" y="436"/>
                  </a:cubicBezTo>
                  <a:cubicBezTo>
                    <a:pt x="1454" y="443"/>
                    <a:pt x="1458" y="461"/>
                    <a:pt x="1464" y="460"/>
                  </a:cubicBezTo>
                  <a:close/>
                  <a:moveTo>
                    <a:pt x="1394" y="487"/>
                  </a:moveTo>
                  <a:cubicBezTo>
                    <a:pt x="1384" y="483"/>
                    <a:pt x="1384" y="496"/>
                    <a:pt x="1383" y="504"/>
                  </a:cubicBezTo>
                  <a:cubicBezTo>
                    <a:pt x="1387" y="506"/>
                    <a:pt x="1388" y="505"/>
                    <a:pt x="1391" y="506"/>
                  </a:cubicBezTo>
                  <a:cubicBezTo>
                    <a:pt x="1391" y="508"/>
                    <a:pt x="1387" y="508"/>
                    <a:pt x="1387" y="511"/>
                  </a:cubicBezTo>
                  <a:cubicBezTo>
                    <a:pt x="1387" y="514"/>
                    <a:pt x="1389" y="514"/>
                    <a:pt x="1388" y="517"/>
                  </a:cubicBezTo>
                  <a:cubicBezTo>
                    <a:pt x="1394" y="518"/>
                    <a:pt x="1392" y="512"/>
                    <a:pt x="1396" y="512"/>
                  </a:cubicBezTo>
                  <a:cubicBezTo>
                    <a:pt x="1398" y="516"/>
                    <a:pt x="1398" y="525"/>
                    <a:pt x="1401" y="524"/>
                  </a:cubicBezTo>
                  <a:cubicBezTo>
                    <a:pt x="1400" y="522"/>
                    <a:pt x="1399" y="516"/>
                    <a:pt x="1400" y="515"/>
                  </a:cubicBezTo>
                  <a:cubicBezTo>
                    <a:pt x="1406" y="521"/>
                    <a:pt x="1400" y="539"/>
                    <a:pt x="1410" y="540"/>
                  </a:cubicBezTo>
                  <a:cubicBezTo>
                    <a:pt x="1412" y="530"/>
                    <a:pt x="1405" y="528"/>
                    <a:pt x="1407" y="518"/>
                  </a:cubicBezTo>
                  <a:cubicBezTo>
                    <a:pt x="1409" y="518"/>
                    <a:pt x="1408" y="521"/>
                    <a:pt x="1411" y="521"/>
                  </a:cubicBezTo>
                  <a:cubicBezTo>
                    <a:pt x="1411" y="512"/>
                    <a:pt x="1411" y="508"/>
                    <a:pt x="1408" y="503"/>
                  </a:cubicBezTo>
                  <a:cubicBezTo>
                    <a:pt x="1404" y="502"/>
                    <a:pt x="1405" y="505"/>
                    <a:pt x="1402" y="505"/>
                  </a:cubicBezTo>
                  <a:cubicBezTo>
                    <a:pt x="1400" y="509"/>
                    <a:pt x="1406" y="511"/>
                    <a:pt x="1403" y="514"/>
                  </a:cubicBezTo>
                  <a:cubicBezTo>
                    <a:pt x="1402" y="512"/>
                    <a:pt x="1400" y="511"/>
                    <a:pt x="1400" y="508"/>
                  </a:cubicBezTo>
                  <a:cubicBezTo>
                    <a:pt x="1398" y="507"/>
                    <a:pt x="1398" y="509"/>
                    <a:pt x="1397" y="510"/>
                  </a:cubicBezTo>
                  <a:cubicBezTo>
                    <a:pt x="1393" y="504"/>
                    <a:pt x="1391" y="503"/>
                    <a:pt x="1389" y="497"/>
                  </a:cubicBezTo>
                  <a:cubicBezTo>
                    <a:pt x="1395" y="498"/>
                    <a:pt x="1396" y="492"/>
                    <a:pt x="1394" y="487"/>
                  </a:cubicBezTo>
                  <a:close/>
                  <a:moveTo>
                    <a:pt x="1437" y="545"/>
                  </a:moveTo>
                  <a:cubicBezTo>
                    <a:pt x="1440" y="554"/>
                    <a:pt x="1443" y="559"/>
                    <a:pt x="1447" y="565"/>
                  </a:cubicBezTo>
                  <a:cubicBezTo>
                    <a:pt x="1444" y="550"/>
                    <a:pt x="1436" y="541"/>
                    <a:pt x="1431" y="530"/>
                  </a:cubicBezTo>
                  <a:cubicBezTo>
                    <a:pt x="1433" y="524"/>
                    <a:pt x="1429" y="518"/>
                    <a:pt x="1427" y="515"/>
                  </a:cubicBezTo>
                  <a:cubicBezTo>
                    <a:pt x="1428" y="521"/>
                    <a:pt x="1426" y="527"/>
                    <a:pt x="1428" y="533"/>
                  </a:cubicBezTo>
                  <a:cubicBezTo>
                    <a:pt x="1429" y="537"/>
                    <a:pt x="1436" y="540"/>
                    <a:pt x="1437" y="545"/>
                  </a:cubicBezTo>
                  <a:close/>
                  <a:moveTo>
                    <a:pt x="1394" y="519"/>
                  </a:moveTo>
                  <a:cubicBezTo>
                    <a:pt x="1394" y="523"/>
                    <a:pt x="1395" y="525"/>
                    <a:pt x="1398" y="525"/>
                  </a:cubicBezTo>
                  <a:cubicBezTo>
                    <a:pt x="1399" y="522"/>
                    <a:pt x="1396" y="522"/>
                    <a:pt x="1397" y="519"/>
                  </a:cubicBezTo>
                  <a:lnTo>
                    <a:pt x="1394" y="519"/>
                  </a:lnTo>
                  <a:close/>
                  <a:moveTo>
                    <a:pt x="1388" y="574"/>
                  </a:moveTo>
                  <a:cubicBezTo>
                    <a:pt x="1392" y="572"/>
                    <a:pt x="1395" y="576"/>
                    <a:pt x="1399" y="574"/>
                  </a:cubicBezTo>
                  <a:cubicBezTo>
                    <a:pt x="1403" y="570"/>
                    <a:pt x="1400" y="560"/>
                    <a:pt x="1403" y="558"/>
                  </a:cubicBezTo>
                  <a:cubicBezTo>
                    <a:pt x="1408" y="559"/>
                    <a:pt x="1408" y="565"/>
                    <a:pt x="1414" y="564"/>
                  </a:cubicBezTo>
                  <a:cubicBezTo>
                    <a:pt x="1414" y="552"/>
                    <a:pt x="1407" y="552"/>
                    <a:pt x="1404" y="543"/>
                  </a:cubicBezTo>
                  <a:cubicBezTo>
                    <a:pt x="1398" y="543"/>
                    <a:pt x="1398" y="543"/>
                    <a:pt x="1398" y="543"/>
                  </a:cubicBezTo>
                  <a:cubicBezTo>
                    <a:pt x="1396" y="537"/>
                    <a:pt x="1392" y="531"/>
                    <a:pt x="1387" y="528"/>
                  </a:cubicBezTo>
                  <a:cubicBezTo>
                    <a:pt x="1388" y="524"/>
                    <a:pt x="1391" y="521"/>
                    <a:pt x="1386" y="520"/>
                  </a:cubicBezTo>
                  <a:cubicBezTo>
                    <a:pt x="1378" y="527"/>
                    <a:pt x="1379" y="553"/>
                    <a:pt x="1385" y="561"/>
                  </a:cubicBezTo>
                  <a:cubicBezTo>
                    <a:pt x="1387" y="561"/>
                    <a:pt x="1385" y="557"/>
                    <a:pt x="1388" y="558"/>
                  </a:cubicBezTo>
                  <a:cubicBezTo>
                    <a:pt x="1392" y="563"/>
                    <a:pt x="1385" y="568"/>
                    <a:pt x="1388" y="574"/>
                  </a:cubicBezTo>
                  <a:close/>
                  <a:moveTo>
                    <a:pt x="1416" y="581"/>
                  </a:moveTo>
                  <a:cubicBezTo>
                    <a:pt x="1419" y="579"/>
                    <a:pt x="1420" y="573"/>
                    <a:pt x="1414" y="573"/>
                  </a:cubicBezTo>
                  <a:cubicBezTo>
                    <a:pt x="1414" y="576"/>
                    <a:pt x="1414" y="580"/>
                    <a:pt x="1416" y="581"/>
                  </a:cubicBezTo>
                  <a:close/>
                  <a:moveTo>
                    <a:pt x="1452" y="689"/>
                  </a:moveTo>
                  <a:cubicBezTo>
                    <a:pt x="1452" y="691"/>
                    <a:pt x="1449" y="693"/>
                    <a:pt x="1449" y="695"/>
                  </a:cubicBezTo>
                  <a:cubicBezTo>
                    <a:pt x="1448" y="698"/>
                    <a:pt x="1449" y="705"/>
                    <a:pt x="1450" y="708"/>
                  </a:cubicBezTo>
                  <a:cubicBezTo>
                    <a:pt x="1452" y="719"/>
                    <a:pt x="1456" y="732"/>
                    <a:pt x="1461" y="735"/>
                  </a:cubicBezTo>
                  <a:cubicBezTo>
                    <a:pt x="1462" y="731"/>
                    <a:pt x="1460" y="726"/>
                    <a:pt x="1462" y="724"/>
                  </a:cubicBezTo>
                  <a:cubicBezTo>
                    <a:pt x="1465" y="725"/>
                    <a:pt x="1466" y="728"/>
                    <a:pt x="1469" y="729"/>
                  </a:cubicBezTo>
                  <a:cubicBezTo>
                    <a:pt x="1470" y="728"/>
                    <a:pt x="1469" y="725"/>
                    <a:pt x="1472" y="725"/>
                  </a:cubicBezTo>
                  <a:cubicBezTo>
                    <a:pt x="1473" y="729"/>
                    <a:pt x="1476" y="731"/>
                    <a:pt x="1478" y="734"/>
                  </a:cubicBezTo>
                  <a:cubicBezTo>
                    <a:pt x="1480" y="733"/>
                    <a:pt x="1477" y="727"/>
                    <a:pt x="1479" y="726"/>
                  </a:cubicBezTo>
                  <a:cubicBezTo>
                    <a:pt x="1481" y="730"/>
                    <a:pt x="1482" y="733"/>
                    <a:pt x="1487" y="734"/>
                  </a:cubicBezTo>
                  <a:cubicBezTo>
                    <a:pt x="1487" y="710"/>
                    <a:pt x="1503" y="688"/>
                    <a:pt x="1489" y="670"/>
                  </a:cubicBezTo>
                  <a:cubicBezTo>
                    <a:pt x="1487" y="669"/>
                    <a:pt x="1487" y="672"/>
                    <a:pt x="1484" y="671"/>
                  </a:cubicBezTo>
                  <a:cubicBezTo>
                    <a:pt x="1488" y="653"/>
                    <a:pt x="1477" y="648"/>
                    <a:pt x="1471" y="635"/>
                  </a:cubicBezTo>
                  <a:cubicBezTo>
                    <a:pt x="1466" y="625"/>
                    <a:pt x="1466" y="614"/>
                    <a:pt x="1462" y="604"/>
                  </a:cubicBezTo>
                  <a:cubicBezTo>
                    <a:pt x="1452" y="600"/>
                    <a:pt x="1455" y="582"/>
                    <a:pt x="1447" y="574"/>
                  </a:cubicBezTo>
                  <a:cubicBezTo>
                    <a:pt x="1446" y="575"/>
                    <a:pt x="1446" y="578"/>
                    <a:pt x="1446" y="581"/>
                  </a:cubicBezTo>
                  <a:cubicBezTo>
                    <a:pt x="1442" y="580"/>
                    <a:pt x="1440" y="590"/>
                    <a:pt x="1433" y="590"/>
                  </a:cubicBezTo>
                  <a:cubicBezTo>
                    <a:pt x="1432" y="597"/>
                    <a:pt x="1437" y="597"/>
                    <a:pt x="1440" y="600"/>
                  </a:cubicBezTo>
                  <a:cubicBezTo>
                    <a:pt x="1440" y="603"/>
                    <a:pt x="1438" y="603"/>
                    <a:pt x="1438" y="606"/>
                  </a:cubicBezTo>
                  <a:cubicBezTo>
                    <a:pt x="1439" y="609"/>
                    <a:pt x="1443" y="607"/>
                    <a:pt x="1444" y="608"/>
                  </a:cubicBezTo>
                  <a:cubicBezTo>
                    <a:pt x="1445" y="616"/>
                    <a:pt x="1444" y="623"/>
                    <a:pt x="1445" y="629"/>
                  </a:cubicBezTo>
                  <a:cubicBezTo>
                    <a:pt x="1443" y="628"/>
                    <a:pt x="1442" y="629"/>
                    <a:pt x="1441" y="630"/>
                  </a:cubicBezTo>
                  <a:cubicBezTo>
                    <a:pt x="1443" y="640"/>
                    <a:pt x="1438" y="645"/>
                    <a:pt x="1436" y="654"/>
                  </a:cubicBezTo>
                  <a:cubicBezTo>
                    <a:pt x="1440" y="657"/>
                    <a:pt x="1446" y="657"/>
                    <a:pt x="1446" y="663"/>
                  </a:cubicBezTo>
                  <a:cubicBezTo>
                    <a:pt x="1437" y="670"/>
                    <a:pt x="1452" y="677"/>
                    <a:pt x="1452" y="689"/>
                  </a:cubicBezTo>
                  <a:close/>
                  <a:moveTo>
                    <a:pt x="1425" y="577"/>
                  </a:moveTo>
                  <a:cubicBezTo>
                    <a:pt x="1423" y="579"/>
                    <a:pt x="1424" y="584"/>
                    <a:pt x="1427" y="584"/>
                  </a:cubicBezTo>
                  <a:cubicBezTo>
                    <a:pt x="1426" y="581"/>
                    <a:pt x="1428" y="577"/>
                    <a:pt x="1425" y="577"/>
                  </a:cubicBezTo>
                  <a:close/>
                  <a:moveTo>
                    <a:pt x="1379" y="581"/>
                  </a:moveTo>
                  <a:cubicBezTo>
                    <a:pt x="1379" y="585"/>
                    <a:pt x="1379" y="589"/>
                    <a:pt x="1383" y="589"/>
                  </a:cubicBezTo>
                  <a:cubicBezTo>
                    <a:pt x="1382" y="585"/>
                    <a:pt x="1383" y="581"/>
                    <a:pt x="1379" y="581"/>
                  </a:cubicBezTo>
                  <a:close/>
                  <a:moveTo>
                    <a:pt x="1518" y="630"/>
                  </a:moveTo>
                  <a:cubicBezTo>
                    <a:pt x="1514" y="652"/>
                    <a:pt x="1514" y="679"/>
                    <a:pt x="1515" y="701"/>
                  </a:cubicBezTo>
                  <a:cubicBezTo>
                    <a:pt x="1525" y="692"/>
                    <a:pt x="1522" y="677"/>
                    <a:pt x="1523" y="663"/>
                  </a:cubicBezTo>
                  <a:cubicBezTo>
                    <a:pt x="1523" y="640"/>
                    <a:pt x="1526" y="612"/>
                    <a:pt x="1518" y="592"/>
                  </a:cubicBezTo>
                  <a:cubicBezTo>
                    <a:pt x="1520" y="605"/>
                    <a:pt x="1520" y="619"/>
                    <a:pt x="1520" y="632"/>
                  </a:cubicBezTo>
                  <a:cubicBezTo>
                    <a:pt x="1519" y="632"/>
                    <a:pt x="1519" y="631"/>
                    <a:pt x="1518" y="630"/>
                  </a:cubicBezTo>
                  <a:close/>
                  <a:moveTo>
                    <a:pt x="1365" y="606"/>
                  </a:moveTo>
                  <a:cubicBezTo>
                    <a:pt x="1367" y="606"/>
                    <a:pt x="1368" y="601"/>
                    <a:pt x="1366" y="600"/>
                  </a:cubicBezTo>
                  <a:cubicBezTo>
                    <a:pt x="1364" y="600"/>
                    <a:pt x="1364" y="601"/>
                    <a:pt x="1362" y="601"/>
                  </a:cubicBezTo>
                  <a:cubicBezTo>
                    <a:pt x="1362" y="604"/>
                    <a:pt x="1362" y="607"/>
                    <a:pt x="1365" y="606"/>
                  </a:cubicBezTo>
                  <a:close/>
                  <a:moveTo>
                    <a:pt x="1362" y="632"/>
                  </a:moveTo>
                  <a:cubicBezTo>
                    <a:pt x="1365" y="633"/>
                    <a:pt x="1368" y="633"/>
                    <a:pt x="1369" y="637"/>
                  </a:cubicBezTo>
                  <a:cubicBezTo>
                    <a:pt x="1369" y="641"/>
                    <a:pt x="1364" y="640"/>
                    <a:pt x="1364" y="645"/>
                  </a:cubicBezTo>
                  <a:cubicBezTo>
                    <a:pt x="1382" y="647"/>
                    <a:pt x="1380" y="615"/>
                    <a:pt x="1370" y="606"/>
                  </a:cubicBezTo>
                  <a:cubicBezTo>
                    <a:pt x="1368" y="615"/>
                    <a:pt x="1375" y="623"/>
                    <a:pt x="1371" y="627"/>
                  </a:cubicBezTo>
                  <a:cubicBezTo>
                    <a:pt x="1368" y="624"/>
                    <a:pt x="1367" y="617"/>
                    <a:pt x="1362" y="620"/>
                  </a:cubicBezTo>
                  <a:cubicBezTo>
                    <a:pt x="1361" y="625"/>
                    <a:pt x="1363" y="628"/>
                    <a:pt x="1362" y="632"/>
                  </a:cubicBezTo>
                  <a:close/>
                  <a:moveTo>
                    <a:pt x="1186" y="612"/>
                  </a:moveTo>
                  <a:cubicBezTo>
                    <a:pt x="1183" y="614"/>
                    <a:pt x="1186" y="617"/>
                    <a:pt x="1187" y="619"/>
                  </a:cubicBezTo>
                  <a:cubicBezTo>
                    <a:pt x="1190" y="620"/>
                    <a:pt x="1191" y="618"/>
                    <a:pt x="1193" y="617"/>
                  </a:cubicBezTo>
                  <a:cubicBezTo>
                    <a:pt x="1193" y="613"/>
                    <a:pt x="1188" y="611"/>
                    <a:pt x="1186" y="612"/>
                  </a:cubicBezTo>
                  <a:close/>
                  <a:moveTo>
                    <a:pt x="1129" y="629"/>
                  </a:moveTo>
                  <a:cubicBezTo>
                    <a:pt x="1139" y="628"/>
                    <a:pt x="1140" y="619"/>
                    <a:pt x="1150" y="619"/>
                  </a:cubicBezTo>
                  <a:cubicBezTo>
                    <a:pt x="1150" y="616"/>
                    <a:pt x="1150" y="612"/>
                    <a:pt x="1146" y="612"/>
                  </a:cubicBezTo>
                  <a:cubicBezTo>
                    <a:pt x="1140" y="622"/>
                    <a:pt x="1110" y="628"/>
                    <a:pt x="1124" y="644"/>
                  </a:cubicBezTo>
                  <a:cubicBezTo>
                    <a:pt x="1131" y="644"/>
                    <a:pt x="1127" y="633"/>
                    <a:pt x="1129" y="629"/>
                  </a:cubicBezTo>
                  <a:close/>
                  <a:moveTo>
                    <a:pt x="1438" y="708"/>
                  </a:moveTo>
                  <a:cubicBezTo>
                    <a:pt x="1437" y="683"/>
                    <a:pt x="1436" y="657"/>
                    <a:pt x="1426" y="637"/>
                  </a:cubicBezTo>
                  <a:cubicBezTo>
                    <a:pt x="1416" y="643"/>
                    <a:pt x="1409" y="634"/>
                    <a:pt x="1402" y="634"/>
                  </a:cubicBezTo>
                  <a:cubicBezTo>
                    <a:pt x="1401" y="628"/>
                    <a:pt x="1396" y="626"/>
                    <a:pt x="1393" y="623"/>
                  </a:cubicBezTo>
                  <a:cubicBezTo>
                    <a:pt x="1391" y="631"/>
                    <a:pt x="1401" y="651"/>
                    <a:pt x="1415" y="644"/>
                  </a:cubicBezTo>
                  <a:cubicBezTo>
                    <a:pt x="1418" y="648"/>
                    <a:pt x="1422" y="650"/>
                    <a:pt x="1429" y="651"/>
                  </a:cubicBezTo>
                  <a:cubicBezTo>
                    <a:pt x="1429" y="656"/>
                    <a:pt x="1431" y="659"/>
                    <a:pt x="1431" y="665"/>
                  </a:cubicBezTo>
                  <a:cubicBezTo>
                    <a:pt x="1425" y="664"/>
                    <a:pt x="1426" y="669"/>
                    <a:pt x="1423" y="671"/>
                  </a:cubicBezTo>
                  <a:cubicBezTo>
                    <a:pt x="1422" y="662"/>
                    <a:pt x="1414" y="659"/>
                    <a:pt x="1409" y="654"/>
                  </a:cubicBezTo>
                  <a:cubicBezTo>
                    <a:pt x="1408" y="655"/>
                    <a:pt x="1407" y="657"/>
                    <a:pt x="1407" y="659"/>
                  </a:cubicBezTo>
                  <a:cubicBezTo>
                    <a:pt x="1413" y="662"/>
                    <a:pt x="1414" y="670"/>
                    <a:pt x="1417" y="677"/>
                  </a:cubicBezTo>
                  <a:cubicBezTo>
                    <a:pt x="1413" y="683"/>
                    <a:pt x="1408" y="692"/>
                    <a:pt x="1411" y="701"/>
                  </a:cubicBezTo>
                  <a:cubicBezTo>
                    <a:pt x="1407" y="705"/>
                    <a:pt x="1402" y="708"/>
                    <a:pt x="1403" y="717"/>
                  </a:cubicBezTo>
                  <a:cubicBezTo>
                    <a:pt x="1404" y="718"/>
                    <a:pt x="1406" y="718"/>
                    <a:pt x="1407" y="720"/>
                  </a:cubicBezTo>
                  <a:cubicBezTo>
                    <a:pt x="1408" y="724"/>
                    <a:pt x="1406" y="725"/>
                    <a:pt x="1407" y="728"/>
                  </a:cubicBezTo>
                  <a:cubicBezTo>
                    <a:pt x="1408" y="729"/>
                    <a:pt x="1411" y="730"/>
                    <a:pt x="1413" y="730"/>
                  </a:cubicBezTo>
                  <a:cubicBezTo>
                    <a:pt x="1417" y="715"/>
                    <a:pt x="1420" y="699"/>
                    <a:pt x="1428" y="686"/>
                  </a:cubicBezTo>
                  <a:cubicBezTo>
                    <a:pt x="1426" y="703"/>
                    <a:pt x="1422" y="726"/>
                    <a:pt x="1428" y="740"/>
                  </a:cubicBezTo>
                  <a:cubicBezTo>
                    <a:pt x="1437" y="735"/>
                    <a:pt x="1428" y="717"/>
                    <a:pt x="1433" y="706"/>
                  </a:cubicBezTo>
                  <a:cubicBezTo>
                    <a:pt x="1435" y="707"/>
                    <a:pt x="1435" y="709"/>
                    <a:pt x="1438" y="708"/>
                  </a:cubicBezTo>
                  <a:close/>
                  <a:moveTo>
                    <a:pt x="1346" y="647"/>
                  </a:moveTo>
                  <a:cubicBezTo>
                    <a:pt x="1348" y="645"/>
                    <a:pt x="1348" y="643"/>
                    <a:pt x="1348" y="639"/>
                  </a:cubicBezTo>
                  <a:cubicBezTo>
                    <a:pt x="1345" y="638"/>
                    <a:pt x="1345" y="641"/>
                    <a:pt x="1342" y="640"/>
                  </a:cubicBezTo>
                  <a:cubicBezTo>
                    <a:pt x="1340" y="634"/>
                    <a:pt x="1336" y="631"/>
                    <a:pt x="1333" y="627"/>
                  </a:cubicBezTo>
                  <a:cubicBezTo>
                    <a:pt x="1326" y="627"/>
                    <a:pt x="1325" y="632"/>
                    <a:pt x="1319" y="630"/>
                  </a:cubicBezTo>
                  <a:cubicBezTo>
                    <a:pt x="1315" y="635"/>
                    <a:pt x="1316" y="645"/>
                    <a:pt x="1314" y="653"/>
                  </a:cubicBezTo>
                  <a:cubicBezTo>
                    <a:pt x="1312" y="653"/>
                    <a:pt x="1313" y="650"/>
                    <a:pt x="1311" y="651"/>
                  </a:cubicBezTo>
                  <a:cubicBezTo>
                    <a:pt x="1311" y="655"/>
                    <a:pt x="1311" y="658"/>
                    <a:pt x="1307" y="658"/>
                  </a:cubicBezTo>
                  <a:cubicBezTo>
                    <a:pt x="1300" y="656"/>
                    <a:pt x="1297" y="651"/>
                    <a:pt x="1297" y="642"/>
                  </a:cubicBezTo>
                  <a:cubicBezTo>
                    <a:pt x="1295" y="640"/>
                    <a:pt x="1291" y="640"/>
                    <a:pt x="1288" y="638"/>
                  </a:cubicBezTo>
                  <a:cubicBezTo>
                    <a:pt x="1289" y="621"/>
                    <a:pt x="1274" y="634"/>
                    <a:pt x="1263" y="635"/>
                  </a:cubicBezTo>
                  <a:cubicBezTo>
                    <a:pt x="1262" y="635"/>
                    <a:pt x="1259" y="633"/>
                    <a:pt x="1257" y="633"/>
                  </a:cubicBezTo>
                  <a:cubicBezTo>
                    <a:pt x="1255" y="633"/>
                    <a:pt x="1253" y="636"/>
                    <a:pt x="1251" y="636"/>
                  </a:cubicBezTo>
                  <a:cubicBezTo>
                    <a:pt x="1250" y="636"/>
                    <a:pt x="1248" y="634"/>
                    <a:pt x="1247" y="634"/>
                  </a:cubicBezTo>
                  <a:cubicBezTo>
                    <a:pt x="1240" y="634"/>
                    <a:pt x="1222" y="641"/>
                    <a:pt x="1218" y="644"/>
                  </a:cubicBezTo>
                  <a:cubicBezTo>
                    <a:pt x="1217" y="643"/>
                    <a:pt x="1216" y="643"/>
                    <a:pt x="1214" y="643"/>
                  </a:cubicBezTo>
                  <a:cubicBezTo>
                    <a:pt x="1210" y="646"/>
                    <a:pt x="1206" y="649"/>
                    <a:pt x="1201" y="651"/>
                  </a:cubicBezTo>
                  <a:cubicBezTo>
                    <a:pt x="1206" y="668"/>
                    <a:pt x="1181" y="659"/>
                    <a:pt x="1180" y="669"/>
                  </a:cubicBezTo>
                  <a:cubicBezTo>
                    <a:pt x="1179" y="674"/>
                    <a:pt x="1186" y="673"/>
                    <a:pt x="1187" y="678"/>
                  </a:cubicBezTo>
                  <a:cubicBezTo>
                    <a:pt x="1181" y="686"/>
                    <a:pt x="1174" y="692"/>
                    <a:pt x="1168" y="701"/>
                  </a:cubicBezTo>
                  <a:cubicBezTo>
                    <a:pt x="1166" y="700"/>
                    <a:pt x="1165" y="699"/>
                    <a:pt x="1162" y="700"/>
                  </a:cubicBezTo>
                  <a:cubicBezTo>
                    <a:pt x="1162" y="706"/>
                    <a:pt x="1162" y="706"/>
                    <a:pt x="1162" y="706"/>
                  </a:cubicBezTo>
                  <a:cubicBezTo>
                    <a:pt x="1153" y="708"/>
                    <a:pt x="1149" y="714"/>
                    <a:pt x="1147" y="723"/>
                  </a:cubicBezTo>
                  <a:cubicBezTo>
                    <a:pt x="1152" y="724"/>
                    <a:pt x="1154" y="718"/>
                    <a:pt x="1159" y="718"/>
                  </a:cubicBezTo>
                  <a:cubicBezTo>
                    <a:pt x="1165" y="717"/>
                    <a:pt x="1171" y="722"/>
                    <a:pt x="1176" y="721"/>
                  </a:cubicBezTo>
                  <a:cubicBezTo>
                    <a:pt x="1183" y="719"/>
                    <a:pt x="1181" y="712"/>
                    <a:pt x="1188" y="706"/>
                  </a:cubicBezTo>
                  <a:cubicBezTo>
                    <a:pt x="1190" y="707"/>
                    <a:pt x="1191" y="706"/>
                    <a:pt x="1192" y="705"/>
                  </a:cubicBezTo>
                  <a:cubicBezTo>
                    <a:pt x="1191" y="691"/>
                    <a:pt x="1208" y="698"/>
                    <a:pt x="1214" y="692"/>
                  </a:cubicBezTo>
                  <a:cubicBezTo>
                    <a:pt x="1218" y="695"/>
                    <a:pt x="1221" y="698"/>
                    <a:pt x="1222" y="703"/>
                  </a:cubicBezTo>
                  <a:cubicBezTo>
                    <a:pt x="1224" y="705"/>
                    <a:pt x="1229" y="704"/>
                    <a:pt x="1230" y="706"/>
                  </a:cubicBezTo>
                  <a:cubicBezTo>
                    <a:pt x="1228" y="709"/>
                    <a:pt x="1224" y="708"/>
                    <a:pt x="1224" y="712"/>
                  </a:cubicBezTo>
                  <a:cubicBezTo>
                    <a:pt x="1232" y="722"/>
                    <a:pt x="1254" y="725"/>
                    <a:pt x="1259" y="710"/>
                  </a:cubicBezTo>
                  <a:cubicBezTo>
                    <a:pt x="1266" y="713"/>
                    <a:pt x="1271" y="718"/>
                    <a:pt x="1280" y="719"/>
                  </a:cubicBezTo>
                  <a:cubicBezTo>
                    <a:pt x="1280" y="710"/>
                    <a:pt x="1277" y="704"/>
                    <a:pt x="1270" y="702"/>
                  </a:cubicBezTo>
                  <a:cubicBezTo>
                    <a:pt x="1272" y="695"/>
                    <a:pt x="1275" y="692"/>
                    <a:pt x="1276" y="682"/>
                  </a:cubicBezTo>
                  <a:cubicBezTo>
                    <a:pt x="1284" y="678"/>
                    <a:pt x="1295" y="673"/>
                    <a:pt x="1307" y="675"/>
                  </a:cubicBezTo>
                  <a:cubicBezTo>
                    <a:pt x="1309" y="669"/>
                    <a:pt x="1319" y="670"/>
                    <a:pt x="1321" y="664"/>
                  </a:cubicBezTo>
                  <a:cubicBezTo>
                    <a:pt x="1324" y="668"/>
                    <a:pt x="1322" y="676"/>
                    <a:pt x="1328" y="677"/>
                  </a:cubicBezTo>
                  <a:cubicBezTo>
                    <a:pt x="1331" y="674"/>
                    <a:pt x="1327" y="668"/>
                    <a:pt x="1329" y="666"/>
                  </a:cubicBezTo>
                  <a:cubicBezTo>
                    <a:pt x="1330" y="664"/>
                    <a:pt x="1335" y="666"/>
                    <a:pt x="1335" y="662"/>
                  </a:cubicBezTo>
                  <a:cubicBezTo>
                    <a:pt x="1335" y="657"/>
                    <a:pt x="1323" y="655"/>
                    <a:pt x="1319" y="650"/>
                  </a:cubicBezTo>
                  <a:cubicBezTo>
                    <a:pt x="1326" y="646"/>
                    <a:pt x="1327" y="654"/>
                    <a:pt x="1335" y="654"/>
                  </a:cubicBezTo>
                  <a:cubicBezTo>
                    <a:pt x="1336" y="652"/>
                    <a:pt x="1336" y="648"/>
                    <a:pt x="1337" y="646"/>
                  </a:cubicBezTo>
                  <a:cubicBezTo>
                    <a:pt x="1340" y="647"/>
                    <a:pt x="1343" y="647"/>
                    <a:pt x="1346" y="647"/>
                  </a:cubicBezTo>
                  <a:close/>
                  <a:moveTo>
                    <a:pt x="1144" y="639"/>
                  </a:moveTo>
                  <a:cubicBezTo>
                    <a:pt x="1141" y="636"/>
                    <a:pt x="1139" y="633"/>
                    <a:pt x="1133" y="633"/>
                  </a:cubicBezTo>
                  <a:cubicBezTo>
                    <a:pt x="1126" y="647"/>
                    <a:pt x="1137" y="657"/>
                    <a:pt x="1143" y="664"/>
                  </a:cubicBezTo>
                  <a:cubicBezTo>
                    <a:pt x="1151" y="665"/>
                    <a:pt x="1168" y="675"/>
                    <a:pt x="1171" y="663"/>
                  </a:cubicBezTo>
                  <a:cubicBezTo>
                    <a:pt x="1163" y="655"/>
                    <a:pt x="1147" y="655"/>
                    <a:pt x="1141" y="645"/>
                  </a:cubicBezTo>
                  <a:cubicBezTo>
                    <a:pt x="1141" y="642"/>
                    <a:pt x="1145" y="643"/>
                    <a:pt x="1144" y="639"/>
                  </a:cubicBezTo>
                  <a:close/>
                  <a:moveTo>
                    <a:pt x="1089" y="654"/>
                  </a:moveTo>
                  <a:cubicBezTo>
                    <a:pt x="1089" y="666"/>
                    <a:pt x="1089" y="666"/>
                    <a:pt x="1089" y="666"/>
                  </a:cubicBezTo>
                  <a:cubicBezTo>
                    <a:pt x="1099" y="662"/>
                    <a:pt x="1105" y="654"/>
                    <a:pt x="1108" y="643"/>
                  </a:cubicBezTo>
                  <a:cubicBezTo>
                    <a:pt x="1099" y="638"/>
                    <a:pt x="1096" y="652"/>
                    <a:pt x="1089" y="654"/>
                  </a:cubicBezTo>
                  <a:close/>
                  <a:moveTo>
                    <a:pt x="1499" y="653"/>
                  </a:moveTo>
                  <a:cubicBezTo>
                    <a:pt x="1499" y="650"/>
                    <a:pt x="1499" y="647"/>
                    <a:pt x="1497" y="647"/>
                  </a:cubicBezTo>
                  <a:cubicBezTo>
                    <a:pt x="1497" y="649"/>
                    <a:pt x="1495" y="653"/>
                    <a:pt x="1499" y="653"/>
                  </a:cubicBezTo>
                  <a:close/>
                  <a:moveTo>
                    <a:pt x="1354" y="678"/>
                  </a:moveTo>
                  <a:cubicBezTo>
                    <a:pt x="1355" y="678"/>
                    <a:pt x="1354" y="674"/>
                    <a:pt x="1356" y="674"/>
                  </a:cubicBezTo>
                  <a:cubicBezTo>
                    <a:pt x="1360" y="676"/>
                    <a:pt x="1364" y="682"/>
                    <a:pt x="1369" y="679"/>
                  </a:cubicBezTo>
                  <a:cubicBezTo>
                    <a:pt x="1370" y="669"/>
                    <a:pt x="1361" y="669"/>
                    <a:pt x="1358" y="664"/>
                  </a:cubicBezTo>
                  <a:cubicBezTo>
                    <a:pt x="1357" y="661"/>
                    <a:pt x="1361" y="661"/>
                    <a:pt x="1359" y="657"/>
                  </a:cubicBezTo>
                  <a:cubicBezTo>
                    <a:pt x="1357" y="657"/>
                    <a:pt x="1353" y="654"/>
                    <a:pt x="1351" y="655"/>
                  </a:cubicBezTo>
                  <a:cubicBezTo>
                    <a:pt x="1351" y="660"/>
                    <a:pt x="1354" y="662"/>
                    <a:pt x="1356" y="665"/>
                  </a:cubicBezTo>
                  <a:cubicBezTo>
                    <a:pt x="1348" y="665"/>
                    <a:pt x="1346" y="671"/>
                    <a:pt x="1345" y="678"/>
                  </a:cubicBezTo>
                  <a:cubicBezTo>
                    <a:pt x="1348" y="680"/>
                    <a:pt x="1350" y="675"/>
                    <a:pt x="1354" y="678"/>
                  </a:cubicBezTo>
                  <a:close/>
                  <a:moveTo>
                    <a:pt x="1076" y="658"/>
                  </a:moveTo>
                  <a:cubicBezTo>
                    <a:pt x="1075" y="661"/>
                    <a:pt x="1076" y="660"/>
                    <a:pt x="1076" y="664"/>
                  </a:cubicBezTo>
                  <a:cubicBezTo>
                    <a:pt x="1080" y="664"/>
                    <a:pt x="1081" y="663"/>
                    <a:pt x="1081" y="659"/>
                  </a:cubicBezTo>
                  <a:cubicBezTo>
                    <a:pt x="1080" y="658"/>
                    <a:pt x="1079" y="658"/>
                    <a:pt x="1076" y="658"/>
                  </a:cubicBezTo>
                  <a:close/>
                  <a:moveTo>
                    <a:pt x="1046" y="678"/>
                  </a:moveTo>
                  <a:cubicBezTo>
                    <a:pt x="1053" y="675"/>
                    <a:pt x="1059" y="672"/>
                    <a:pt x="1061" y="664"/>
                  </a:cubicBezTo>
                  <a:cubicBezTo>
                    <a:pt x="1054" y="667"/>
                    <a:pt x="1048" y="670"/>
                    <a:pt x="1046" y="678"/>
                  </a:cubicBezTo>
                  <a:close/>
                  <a:moveTo>
                    <a:pt x="1400" y="672"/>
                  </a:moveTo>
                  <a:cubicBezTo>
                    <a:pt x="1401" y="669"/>
                    <a:pt x="1398" y="669"/>
                    <a:pt x="1399" y="667"/>
                  </a:cubicBezTo>
                  <a:cubicBezTo>
                    <a:pt x="1395" y="667"/>
                    <a:pt x="1390" y="666"/>
                    <a:pt x="1386" y="667"/>
                  </a:cubicBezTo>
                  <a:cubicBezTo>
                    <a:pt x="1390" y="669"/>
                    <a:pt x="1395" y="674"/>
                    <a:pt x="1400" y="672"/>
                  </a:cubicBezTo>
                  <a:close/>
                  <a:moveTo>
                    <a:pt x="1409" y="674"/>
                  </a:moveTo>
                  <a:cubicBezTo>
                    <a:pt x="1410" y="670"/>
                    <a:pt x="1409" y="668"/>
                    <a:pt x="1406" y="668"/>
                  </a:cubicBezTo>
                  <a:cubicBezTo>
                    <a:pt x="1405" y="671"/>
                    <a:pt x="1405" y="675"/>
                    <a:pt x="1409" y="674"/>
                  </a:cubicBezTo>
                  <a:close/>
                  <a:moveTo>
                    <a:pt x="1068" y="675"/>
                  </a:moveTo>
                  <a:cubicBezTo>
                    <a:pt x="1067" y="679"/>
                    <a:pt x="1070" y="679"/>
                    <a:pt x="1071" y="681"/>
                  </a:cubicBezTo>
                  <a:cubicBezTo>
                    <a:pt x="1068" y="683"/>
                    <a:pt x="1065" y="682"/>
                    <a:pt x="1065" y="686"/>
                  </a:cubicBezTo>
                  <a:cubicBezTo>
                    <a:pt x="1066" y="686"/>
                    <a:pt x="1068" y="686"/>
                    <a:pt x="1069" y="687"/>
                  </a:cubicBezTo>
                  <a:cubicBezTo>
                    <a:pt x="1072" y="684"/>
                    <a:pt x="1071" y="676"/>
                    <a:pt x="1080" y="678"/>
                  </a:cubicBezTo>
                  <a:cubicBezTo>
                    <a:pt x="1080" y="674"/>
                    <a:pt x="1080" y="674"/>
                    <a:pt x="1080" y="674"/>
                  </a:cubicBezTo>
                  <a:cubicBezTo>
                    <a:pt x="1075" y="672"/>
                    <a:pt x="1074" y="678"/>
                    <a:pt x="1068" y="675"/>
                  </a:cubicBezTo>
                  <a:close/>
                  <a:moveTo>
                    <a:pt x="1035" y="674"/>
                  </a:moveTo>
                  <a:cubicBezTo>
                    <a:pt x="1032" y="674"/>
                    <a:pt x="1032" y="674"/>
                    <a:pt x="1032" y="674"/>
                  </a:cubicBezTo>
                  <a:cubicBezTo>
                    <a:pt x="1030" y="679"/>
                    <a:pt x="1027" y="683"/>
                    <a:pt x="1025" y="689"/>
                  </a:cubicBezTo>
                  <a:cubicBezTo>
                    <a:pt x="1032" y="687"/>
                    <a:pt x="1037" y="684"/>
                    <a:pt x="1035" y="674"/>
                  </a:cubicBezTo>
                  <a:close/>
                  <a:moveTo>
                    <a:pt x="74" y="695"/>
                  </a:moveTo>
                  <a:cubicBezTo>
                    <a:pt x="75" y="689"/>
                    <a:pt x="77" y="684"/>
                    <a:pt x="74" y="678"/>
                  </a:cubicBezTo>
                  <a:cubicBezTo>
                    <a:pt x="71" y="683"/>
                    <a:pt x="68" y="690"/>
                    <a:pt x="74" y="695"/>
                  </a:cubicBezTo>
                  <a:close/>
                  <a:moveTo>
                    <a:pt x="1383" y="678"/>
                  </a:moveTo>
                  <a:cubicBezTo>
                    <a:pt x="1363" y="684"/>
                    <a:pt x="1391" y="696"/>
                    <a:pt x="1383" y="678"/>
                  </a:cubicBezTo>
                  <a:close/>
                  <a:moveTo>
                    <a:pt x="1034" y="694"/>
                  </a:moveTo>
                  <a:cubicBezTo>
                    <a:pt x="1040" y="696"/>
                    <a:pt x="1049" y="694"/>
                    <a:pt x="1048" y="687"/>
                  </a:cubicBezTo>
                  <a:cubicBezTo>
                    <a:pt x="1043" y="685"/>
                    <a:pt x="1034" y="687"/>
                    <a:pt x="1034" y="694"/>
                  </a:cubicBezTo>
                  <a:close/>
                  <a:moveTo>
                    <a:pt x="1311" y="708"/>
                  </a:moveTo>
                  <a:cubicBezTo>
                    <a:pt x="1317" y="706"/>
                    <a:pt x="1314" y="690"/>
                    <a:pt x="1310" y="689"/>
                  </a:cubicBezTo>
                  <a:cubicBezTo>
                    <a:pt x="1310" y="694"/>
                    <a:pt x="1311" y="701"/>
                    <a:pt x="1311" y="708"/>
                  </a:cubicBezTo>
                  <a:close/>
                  <a:moveTo>
                    <a:pt x="1017" y="702"/>
                  </a:moveTo>
                  <a:cubicBezTo>
                    <a:pt x="1018" y="703"/>
                    <a:pt x="1018" y="705"/>
                    <a:pt x="1019" y="705"/>
                  </a:cubicBezTo>
                  <a:cubicBezTo>
                    <a:pt x="1023" y="705"/>
                    <a:pt x="1026" y="702"/>
                    <a:pt x="1026" y="698"/>
                  </a:cubicBezTo>
                  <a:cubicBezTo>
                    <a:pt x="1023" y="699"/>
                    <a:pt x="1019" y="699"/>
                    <a:pt x="1017" y="702"/>
                  </a:cubicBezTo>
                  <a:close/>
                  <a:moveTo>
                    <a:pt x="1510" y="716"/>
                  </a:moveTo>
                  <a:cubicBezTo>
                    <a:pt x="1513" y="717"/>
                    <a:pt x="1513" y="709"/>
                    <a:pt x="1511" y="709"/>
                  </a:cubicBezTo>
                  <a:cubicBezTo>
                    <a:pt x="1510" y="710"/>
                    <a:pt x="1510" y="713"/>
                    <a:pt x="1510" y="716"/>
                  </a:cubicBezTo>
                  <a:close/>
                  <a:moveTo>
                    <a:pt x="1530" y="720"/>
                  </a:moveTo>
                  <a:cubicBezTo>
                    <a:pt x="1530" y="735"/>
                    <a:pt x="1531" y="730"/>
                    <a:pt x="1532" y="722"/>
                  </a:cubicBezTo>
                  <a:cubicBezTo>
                    <a:pt x="1531" y="722"/>
                    <a:pt x="1531" y="720"/>
                    <a:pt x="1530" y="720"/>
                  </a:cubicBezTo>
                  <a:close/>
                  <a:moveTo>
                    <a:pt x="1333" y="722"/>
                  </a:moveTo>
                  <a:cubicBezTo>
                    <a:pt x="1330" y="728"/>
                    <a:pt x="1336" y="732"/>
                    <a:pt x="1341" y="733"/>
                  </a:cubicBezTo>
                  <a:cubicBezTo>
                    <a:pt x="1340" y="728"/>
                    <a:pt x="1339" y="722"/>
                    <a:pt x="1333" y="722"/>
                  </a:cubicBezTo>
                  <a:close/>
                  <a:moveTo>
                    <a:pt x="1497" y="747"/>
                  </a:moveTo>
                  <a:cubicBezTo>
                    <a:pt x="1500" y="746"/>
                    <a:pt x="1500" y="736"/>
                    <a:pt x="1497" y="736"/>
                  </a:cubicBezTo>
                  <a:cubicBezTo>
                    <a:pt x="1495" y="738"/>
                    <a:pt x="1493" y="746"/>
                    <a:pt x="1497" y="747"/>
                  </a:cubicBezTo>
                  <a:close/>
                  <a:moveTo>
                    <a:pt x="1419" y="978"/>
                  </a:moveTo>
                  <a:cubicBezTo>
                    <a:pt x="1418" y="979"/>
                    <a:pt x="1419" y="982"/>
                    <a:pt x="1417" y="982"/>
                  </a:cubicBezTo>
                  <a:cubicBezTo>
                    <a:pt x="1419" y="971"/>
                    <a:pt x="1413" y="967"/>
                    <a:pt x="1415" y="958"/>
                  </a:cubicBezTo>
                  <a:cubicBezTo>
                    <a:pt x="1412" y="950"/>
                    <a:pt x="1407" y="942"/>
                    <a:pt x="1404" y="934"/>
                  </a:cubicBezTo>
                  <a:cubicBezTo>
                    <a:pt x="1389" y="932"/>
                    <a:pt x="1392" y="913"/>
                    <a:pt x="1387" y="901"/>
                  </a:cubicBezTo>
                  <a:cubicBezTo>
                    <a:pt x="1396" y="896"/>
                    <a:pt x="1393" y="881"/>
                    <a:pt x="1390" y="872"/>
                  </a:cubicBezTo>
                  <a:cubicBezTo>
                    <a:pt x="1385" y="874"/>
                    <a:pt x="1386" y="881"/>
                    <a:pt x="1382" y="883"/>
                  </a:cubicBezTo>
                  <a:cubicBezTo>
                    <a:pt x="1381" y="876"/>
                    <a:pt x="1386" y="875"/>
                    <a:pt x="1386" y="869"/>
                  </a:cubicBezTo>
                  <a:cubicBezTo>
                    <a:pt x="1374" y="867"/>
                    <a:pt x="1380" y="861"/>
                    <a:pt x="1381" y="852"/>
                  </a:cubicBezTo>
                  <a:cubicBezTo>
                    <a:pt x="1374" y="852"/>
                    <a:pt x="1380" y="838"/>
                    <a:pt x="1373" y="840"/>
                  </a:cubicBezTo>
                  <a:cubicBezTo>
                    <a:pt x="1373" y="832"/>
                    <a:pt x="1370" y="824"/>
                    <a:pt x="1365" y="819"/>
                  </a:cubicBezTo>
                  <a:cubicBezTo>
                    <a:pt x="1363" y="829"/>
                    <a:pt x="1353" y="830"/>
                    <a:pt x="1353" y="842"/>
                  </a:cubicBezTo>
                  <a:cubicBezTo>
                    <a:pt x="1353" y="842"/>
                    <a:pt x="1353" y="843"/>
                    <a:pt x="1353" y="845"/>
                  </a:cubicBezTo>
                  <a:cubicBezTo>
                    <a:pt x="1353" y="843"/>
                    <a:pt x="1353" y="843"/>
                    <a:pt x="1353" y="842"/>
                  </a:cubicBezTo>
                  <a:cubicBezTo>
                    <a:pt x="1352" y="839"/>
                    <a:pt x="1351" y="837"/>
                    <a:pt x="1352" y="834"/>
                  </a:cubicBezTo>
                  <a:cubicBezTo>
                    <a:pt x="1347" y="837"/>
                    <a:pt x="1344" y="832"/>
                    <a:pt x="1340" y="831"/>
                  </a:cubicBezTo>
                  <a:cubicBezTo>
                    <a:pt x="1341" y="828"/>
                    <a:pt x="1345" y="829"/>
                    <a:pt x="1347" y="827"/>
                  </a:cubicBezTo>
                  <a:cubicBezTo>
                    <a:pt x="1349" y="819"/>
                    <a:pt x="1347" y="814"/>
                    <a:pt x="1343" y="809"/>
                  </a:cubicBezTo>
                  <a:cubicBezTo>
                    <a:pt x="1351" y="792"/>
                    <a:pt x="1329" y="790"/>
                    <a:pt x="1324" y="779"/>
                  </a:cubicBezTo>
                  <a:cubicBezTo>
                    <a:pt x="1327" y="780"/>
                    <a:pt x="1329" y="781"/>
                    <a:pt x="1334" y="780"/>
                  </a:cubicBezTo>
                  <a:cubicBezTo>
                    <a:pt x="1334" y="777"/>
                    <a:pt x="1333" y="774"/>
                    <a:pt x="1333" y="772"/>
                  </a:cubicBezTo>
                  <a:cubicBezTo>
                    <a:pt x="1329" y="774"/>
                    <a:pt x="1328" y="772"/>
                    <a:pt x="1325" y="771"/>
                  </a:cubicBezTo>
                  <a:cubicBezTo>
                    <a:pt x="1323" y="772"/>
                    <a:pt x="1323" y="775"/>
                    <a:pt x="1320" y="774"/>
                  </a:cubicBezTo>
                  <a:cubicBezTo>
                    <a:pt x="1307" y="775"/>
                    <a:pt x="1298" y="778"/>
                    <a:pt x="1289" y="769"/>
                  </a:cubicBezTo>
                  <a:cubicBezTo>
                    <a:pt x="1279" y="771"/>
                    <a:pt x="1288" y="780"/>
                    <a:pt x="1286" y="787"/>
                  </a:cubicBezTo>
                  <a:cubicBezTo>
                    <a:pt x="1287" y="789"/>
                    <a:pt x="1291" y="788"/>
                    <a:pt x="1292" y="791"/>
                  </a:cubicBezTo>
                  <a:cubicBezTo>
                    <a:pt x="1288" y="800"/>
                    <a:pt x="1298" y="810"/>
                    <a:pt x="1289" y="817"/>
                  </a:cubicBezTo>
                  <a:cubicBezTo>
                    <a:pt x="1280" y="819"/>
                    <a:pt x="1276" y="829"/>
                    <a:pt x="1263" y="827"/>
                  </a:cubicBezTo>
                  <a:cubicBezTo>
                    <a:pt x="1259" y="831"/>
                    <a:pt x="1258" y="835"/>
                    <a:pt x="1253" y="837"/>
                  </a:cubicBezTo>
                  <a:cubicBezTo>
                    <a:pt x="1233" y="826"/>
                    <a:pt x="1244" y="785"/>
                    <a:pt x="1243" y="768"/>
                  </a:cubicBezTo>
                  <a:cubicBezTo>
                    <a:pt x="1240" y="762"/>
                    <a:pt x="1237" y="754"/>
                    <a:pt x="1241" y="748"/>
                  </a:cubicBezTo>
                  <a:cubicBezTo>
                    <a:pt x="1239" y="744"/>
                    <a:pt x="1239" y="739"/>
                    <a:pt x="1235" y="738"/>
                  </a:cubicBezTo>
                  <a:cubicBezTo>
                    <a:pt x="1234" y="736"/>
                    <a:pt x="1230" y="741"/>
                    <a:pt x="1228" y="741"/>
                  </a:cubicBezTo>
                  <a:cubicBezTo>
                    <a:pt x="1227" y="752"/>
                    <a:pt x="1220" y="765"/>
                    <a:pt x="1217" y="778"/>
                  </a:cubicBezTo>
                  <a:cubicBezTo>
                    <a:pt x="1213" y="774"/>
                    <a:pt x="1208" y="779"/>
                    <a:pt x="1204" y="780"/>
                  </a:cubicBezTo>
                  <a:cubicBezTo>
                    <a:pt x="1200" y="786"/>
                    <a:pt x="1203" y="793"/>
                    <a:pt x="1202" y="798"/>
                  </a:cubicBezTo>
                  <a:cubicBezTo>
                    <a:pt x="1201" y="806"/>
                    <a:pt x="1194" y="812"/>
                    <a:pt x="1192" y="820"/>
                  </a:cubicBezTo>
                  <a:cubicBezTo>
                    <a:pt x="1192" y="823"/>
                    <a:pt x="1193" y="828"/>
                    <a:pt x="1192" y="831"/>
                  </a:cubicBezTo>
                  <a:cubicBezTo>
                    <a:pt x="1188" y="845"/>
                    <a:pt x="1164" y="838"/>
                    <a:pt x="1166" y="857"/>
                  </a:cubicBezTo>
                  <a:cubicBezTo>
                    <a:pt x="1164" y="859"/>
                    <a:pt x="1161" y="860"/>
                    <a:pt x="1159" y="861"/>
                  </a:cubicBezTo>
                  <a:cubicBezTo>
                    <a:pt x="1158" y="864"/>
                    <a:pt x="1160" y="870"/>
                    <a:pt x="1158" y="872"/>
                  </a:cubicBezTo>
                  <a:cubicBezTo>
                    <a:pt x="1155" y="866"/>
                    <a:pt x="1147" y="874"/>
                    <a:pt x="1145" y="877"/>
                  </a:cubicBezTo>
                  <a:cubicBezTo>
                    <a:pt x="1146" y="880"/>
                    <a:pt x="1148" y="881"/>
                    <a:pt x="1149" y="882"/>
                  </a:cubicBezTo>
                  <a:cubicBezTo>
                    <a:pt x="1145" y="887"/>
                    <a:pt x="1142" y="894"/>
                    <a:pt x="1135" y="896"/>
                  </a:cubicBezTo>
                  <a:cubicBezTo>
                    <a:pt x="1135" y="900"/>
                    <a:pt x="1133" y="902"/>
                    <a:pt x="1133" y="905"/>
                  </a:cubicBezTo>
                  <a:cubicBezTo>
                    <a:pt x="1131" y="905"/>
                    <a:pt x="1131" y="908"/>
                    <a:pt x="1128" y="907"/>
                  </a:cubicBezTo>
                  <a:cubicBezTo>
                    <a:pt x="1121" y="915"/>
                    <a:pt x="1125" y="926"/>
                    <a:pt x="1123" y="937"/>
                  </a:cubicBezTo>
                  <a:cubicBezTo>
                    <a:pt x="1123" y="940"/>
                    <a:pt x="1120" y="943"/>
                    <a:pt x="1119" y="945"/>
                  </a:cubicBezTo>
                  <a:cubicBezTo>
                    <a:pt x="1118" y="955"/>
                    <a:pt x="1124" y="968"/>
                    <a:pt x="1123" y="980"/>
                  </a:cubicBezTo>
                  <a:cubicBezTo>
                    <a:pt x="1123" y="990"/>
                    <a:pt x="1125" y="997"/>
                    <a:pt x="1127" y="1006"/>
                  </a:cubicBezTo>
                  <a:cubicBezTo>
                    <a:pt x="1129" y="1008"/>
                    <a:pt x="1132" y="1007"/>
                    <a:pt x="1132" y="1011"/>
                  </a:cubicBezTo>
                  <a:cubicBezTo>
                    <a:pt x="1130" y="1020"/>
                    <a:pt x="1137" y="1025"/>
                    <a:pt x="1137" y="1034"/>
                  </a:cubicBezTo>
                  <a:cubicBezTo>
                    <a:pt x="1136" y="1042"/>
                    <a:pt x="1135" y="1052"/>
                    <a:pt x="1139" y="1062"/>
                  </a:cubicBezTo>
                  <a:cubicBezTo>
                    <a:pt x="1132" y="1071"/>
                    <a:pt x="1139" y="1085"/>
                    <a:pt x="1149" y="1083"/>
                  </a:cubicBezTo>
                  <a:cubicBezTo>
                    <a:pt x="1147" y="1090"/>
                    <a:pt x="1153" y="1098"/>
                    <a:pt x="1156" y="1104"/>
                  </a:cubicBezTo>
                  <a:cubicBezTo>
                    <a:pt x="1161" y="1100"/>
                    <a:pt x="1164" y="1095"/>
                    <a:pt x="1169" y="1091"/>
                  </a:cubicBezTo>
                  <a:cubicBezTo>
                    <a:pt x="1169" y="1096"/>
                    <a:pt x="1168" y="1104"/>
                    <a:pt x="1175" y="1106"/>
                  </a:cubicBezTo>
                  <a:cubicBezTo>
                    <a:pt x="1187" y="1103"/>
                    <a:pt x="1201" y="1106"/>
                    <a:pt x="1206" y="1094"/>
                  </a:cubicBezTo>
                  <a:cubicBezTo>
                    <a:pt x="1207" y="1093"/>
                    <a:pt x="1205" y="1089"/>
                    <a:pt x="1205" y="1087"/>
                  </a:cubicBezTo>
                  <a:cubicBezTo>
                    <a:pt x="1206" y="1081"/>
                    <a:pt x="1214" y="1080"/>
                    <a:pt x="1215" y="1074"/>
                  </a:cubicBezTo>
                  <a:cubicBezTo>
                    <a:pt x="1217" y="1075"/>
                    <a:pt x="1220" y="1074"/>
                    <a:pt x="1222" y="1073"/>
                  </a:cubicBezTo>
                  <a:cubicBezTo>
                    <a:pt x="1222" y="1067"/>
                    <a:pt x="1220" y="1061"/>
                    <a:pt x="1226" y="1061"/>
                  </a:cubicBezTo>
                  <a:cubicBezTo>
                    <a:pt x="1227" y="1065"/>
                    <a:pt x="1224" y="1067"/>
                    <a:pt x="1225" y="1071"/>
                  </a:cubicBezTo>
                  <a:cubicBezTo>
                    <a:pt x="1229" y="1070"/>
                    <a:pt x="1227" y="1075"/>
                    <a:pt x="1231" y="1074"/>
                  </a:cubicBezTo>
                  <a:cubicBezTo>
                    <a:pt x="1232" y="1067"/>
                    <a:pt x="1229" y="1054"/>
                    <a:pt x="1234" y="1046"/>
                  </a:cubicBezTo>
                  <a:cubicBezTo>
                    <a:pt x="1232" y="1044"/>
                    <a:pt x="1229" y="1039"/>
                    <a:pt x="1233" y="1038"/>
                  </a:cubicBezTo>
                  <a:cubicBezTo>
                    <a:pt x="1236" y="1048"/>
                    <a:pt x="1241" y="1065"/>
                    <a:pt x="1237" y="1074"/>
                  </a:cubicBezTo>
                  <a:cubicBezTo>
                    <a:pt x="1240" y="1074"/>
                    <a:pt x="1242" y="1074"/>
                    <a:pt x="1244" y="1073"/>
                  </a:cubicBezTo>
                  <a:cubicBezTo>
                    <a:pt x="1246" y="1070"/>
                    <a:pt x="1244" y="1070"/>
                    <a:pt x="1243" y="1066"/>
                  </a:cubicBezTo>
                  <a:cubicBezTo>
                    <a:pt x="1247" y="1061"/>
                    <a:pt x="1252" y="1058"/>
                    <a:pt x="1258" y="1055"/>
                  </a:cubicBezTo>
                  <a:cubicBezTo>
                    <a:pt x="1257" y="1051"/>
                    <a:pt x="1258" y="1049"/>
                    <a:pt x="1259" y="1046"/>
                  </a:cubicBezTo>
                  <a:cubicBezTo>
                    <a:pt x="1266" y="1042"/>
                    <a:pt x="1273" y="1044"/>
                    <a:pt x="1281" y="1039"/>
                  </a:cubicBezTo>
                  <a:cubicBezTo>
                    <a:pt x="1288" y="1046"/>
                    <a:pt x="1296" y="1052"/>
                    <a:pt x="1298" y="1063"/>
                  </a:cubicBezTo>
                  <a:cubicBezTo>
                    <a:pt x="1309" y="1062"/>
                    <a:pt x="1306" y="1075"/>
                    <a:pt x="1313" y="1077"/>
                  </a:cubicBezTo>
                  <a:cubicBezTo>
                    <a:pt x="1313" y="1085"/>
                    <a:pt x="1311" y="1091"/>
                    <a:pt x="1310" y="1098"/>
                  </a:cubicBezTo>
                  <a:cubicBezTo>
                    <a:pt x="1313" y="1099"/>
                    <a:pt x="1312" y="1098"/>
                    <a:pt x="1315" y="1098"/>
                  </a:cubicBezTo>
                  <a:cubicBezTo>
                    <a:pt x="1313" y="1104"/>
                    <a:pt x="1323" y="1101"/>
                    <a:pt x="1321" y="1110"/>
                  </a:cubicBezTo>
                  <a:cubicBezTo>
                    <a:pt x="1322" y="1111"/>
                    <a:pt x="1326" y="1109"/>
                    <a:pt x="1327" y="1111"/>
                  </a:cubicBezTo>
                  <a:cubicBezTo>
                    <a:pt x="1328" y="1122"/>
                    <a:pt x="1325" y="1127"/>
                    <a:pt x="1330" y="1134"/>
                  </a:cubicBezTo>
                  <a:cubicBezTo>
                    <a:pt x="1335" y="1134"/>
                    <a:pt x="1337" y="1133"/>
                    <a:pt x="1344" y="1133"/>
                  </a:cubicBezTo>
                  <a:cubicBezTo>
                    <a:pt x="1349" y="1129"/>
                    <a:pt x="1346" y="1125"/>
                    <a:pt x="1347" y="1119"/>
                  </a:cubicBezTo>
                  <a:cubicBezTo>
                    <a:pt x="1347" y="1116"/>
                    <a:pt x="1351" y="1114"/>
                    <a:pt x="1354" y="1109"/>
                  </a:cubicBezTo>
                  <a:cubicBezTo>
                    <a:pt x="1355" y="1105"/>
                    <a:pt x="1355" y="1100"/>
                    <a:pt x="1357" y="1098"/>
                  </a:cubicBezTo>
                  <a:cubicBezTo>
                    <a:pt x="1358" y="1096"/>
                    <a:pt x="1362" y="1096"/>
                    <a:pt x="1364" y="1093"/>
                  </a:cubicBezTo>
                  <a:cubicBezTo>
                    <a:pt x="1372" y="1086"/>
                    <a:pt x="1375" y="1071"/>
                    <a:pt x="1380" y="1065"/>
                  </a:cubicBezTo>
                  <a:cubicBezTo>
                    <a:pt x="1382" y="1062"/>
                    <a:pt x="1387" y="1061"/>
                    <a:pt x="1389" y="1058"/>
                  </a:cubicBezTo>
                  <a:cubicBezTo>
                    <a:pt x="1390" y="1045"/>
                    <a:pt x="1404" y="1044"/>
                    <a:pt x="1403" y="1030"/>
                  </a:cubicBezTo>
                  <a:cubicBezTo>
                    <a:pt x="1400" y="1029"/>
                    <a:pt x="1397" y="1035"/>
                    <a:pt x="1399" y="1031"/>
                  </a:cubicBezTo>
                  <a:cubicBezTo>
                    <a:pt x="1402" y="1025"/>
                    <a:pt x="1410" y="1021"/>
                    <a:pt x="1411" y="1014"/>
                  </a:cubicBezTo>
                  <a:cubicBezTo>
                    <a:pt x="1412" y="1011"/>
                    <a:pt x="1410" y="1008"/>
                    <a:pt x="1411" y="1006"/>
                  </a:cubicBezTo>
                  <a:cubicBezTo>
                    <a:pt x="1414" y="999"/>
                    <a:pt x="1422" y="988"/>
                    <a:pt x="1419" y="978"/>
                  </a:cubicBezTo>
                  <a:close/>
                  <a:moveTo>
                    <a:pt x="1423" y="745"/>
                  </a:moveTo>
                  <a:cubicBezTo>
                    <a:pt x="1424" y="743"/>
                    <a:pt x="1424" y="737"/>
                    <a:pt x="1421" y="737"/>
                  </a:cubicBezTo>
                  <a:cubicBezTo>
                    <a:pt x="1421" y="740"/>
                    <a:pt x="1420" y="745"/>
                    <a:pt x="1423" y="745"/>
                  </a:cubicBezTo>
                  <a:close/>
                  <a:moveTo>
                    <a:pt x="1377" y="743"/>
                  </a:moveTo>
                  <a:cubicBezTo>
                    <a:pt x="1378" y="746"/>
                    <a:pt x="1381" y="747"/>
                    <a:pt x="1383" y="749"/>
                  </a:cubicBezTo>
                  <a:cubicBezTo>
                    <a:pt x="1383" y="745"/>
                    <a:pt x="1384" y="742"/>
                    <a:pt x="1381" y="742"/>
                  </a:cubicBezTo>
                  <a:cubicBezTo>
                    <a:pt x="1380" y="743"/>
                    <a:pt x="1378" y="743"/>
                    <a:pt x="1377" y="743"/>
                  </a:cubicBezTo>
                  <a:close/>
                  <a:moveTo>
                    <a:pt x="1393" y="787"/>
                  </a:moveTo>
                  <a:cubicBezTo>
                    <a:pt x="1399" y="768"/>
                    <a:pt x="1382" y="754"/>
                    <a:pt x="1369" y="747"/>
                  </a:cubicBezTo>
                  <a:cubicBezTo>
                    <a:pt x="1369" y="754"/>
                    <a:pt x="1373" y="758"/>
                    <a:pt x="1375" y="764"/>
                  </a:cubicBezTo>
                  <a:cubicBezTo>
                    <a:pt x="1386" y="766"/>
                    <a:pt x="1385" y="781"/>
                    <a:pt x="1393" y="787"/>
                  </a:cubicBezTo>
                  <a:close/>
                  <a:moveTo>
                    <a:pt x="1389" y="752"/>
                  </a:moveTo>
                  <a:cubicBezTo>
                    <a:pt x="1389" y="756"/>
                    <a:pt x="1389" y="756"/>
                    <a:pt x="1389" y="756"/>
                  </a:cubicBezTo>
                  <a:cubicBezTo>
                    <a:pt x="1393" y="757"/>
                    <a:pt x="1393" y="752"/>
                    <a:pt x="1389" y="752"/>
                  </a:cubicBezTo>
                  <a:close/>
                  <a:moveTo>
                    <a:pt x="1417" y="779"/>
                  </a:moveTo>
                  <a:cubicBezTo>
                    <a:pt x="1424" y="779"/>
                    <a:pt x="1424" y="779"/>
                    <a:pt x="1424" y="779"/>
                  </a:cubicBezTo>
                  <a:cubicBezTo>
                    <a:pt x="1422" y="774"/>
                    <a:pt x="1419" y="770"/>
                    <a:pt x="1417" y="765"/>
                  </a:cubicBezTo>
                  <a:cubicBezTo>
                    <a:pt x="1413" y="764"/>
                    <a:pt x="1413" y="767"/>
                    <a:pt x="1410" y="767"/>
                  </a:cubicBezTo>
                  <a:cubicBezTo>
                    <a:pt x="1410" y="763"/>
                    <a:pt x="1407" y="763"/>
                    <a:pt x="1405" y="764"/>
                  </a:cubicBezTo>
                  <a:cubicBezTo>
                    <a:pt x="1403" y="761"/>
                    <a:pt x="1402" y="758"/>
                    <a:pt x="1400" y="756"/>
                  </a:cubicBezTo>
                  <a:cubicBezTo>
                    <a:pt x="1396" y="770"/>
                    <a:pt x="1414" y="769"/>
                    <a:pt x="1417" y="779"/>
                  </a:cubicBezTo>
                  <a:close/>
                  <a:moveTo>
                    <a:pt x="819" y="760"/>
                  </a:moveTo>
                  <a:cubicBezTo>
                    <a:pt x="819" y="769"/>
                    <a:pt x="827" y="770"/>
                    <a:pt x="836" y="770"/>
                  </a:cubicBezTo>
                  <a:cubicBezTo>
                    <a:pt x="835" y="763"/>
                    <a:pt x="825" y="760"/>
                    <a:pt x="819" y="760"/>
                  </a:cubicBezTo>
                  <a:close/>
                  <a:moveTo>
                    <a:pt x="1524" y="767"/>
                  </a:moveTo>
                  <a:cubicBezTo>
                    <a:pt x="1523" y="769"/>
                    <a:pt x="1520" y="772"/>
                    <a:pt x="1523" y="774"/>
                  </a:cubicBezTo>
                  <a:cubicBezTo>
                    <a:pt x="1523" y="772"/>
                    <a:pt x="1526" y="768"/>
                    <a:pt x="1524" y="767"/>
                  </a:cubicBezTo>
                  <a:close/>
                  <a:moveTo>
                    <a:pt x="1459" y="768"/>
                  </a:moveTo>
                  <a:cubicBezTo>
                    <a:pt x="1460" y="772"/>
                    <a:pt x="1460" y="778"/>
                    <a:pt x="1465" y="778"/>
                  </a:cubicBezTo>
                  <a:cubicBezTo>
                    <a:pt x="1466" y="772"/>
                    <a:pt x="1464" y="769"/>
                    <a:pt x="1459" y="768"/>
                  </a:cubicBezTo>
                  <a:close/>
                  <a:moveTo>
                    <a:pt x="1435" y="773"/>
                  </a:moveTo>
                  <a:cubicBezTo>
                    <a:pt x="1431" y="774"/>
                    <a:pt x="1430" y="769"/>
                    <a:pt x="1428" y="772"/>
                  </a:cubicBezTo>
                  <a:cubicBezTo>
                    <a:pt x="1428" y="781"/>
                    <a:pt x="1428" y="781"/>
                    <a:pt x="1428" y="781"/>
                  </a:cubicBezTo>
                  <a:cubicBezTo>
                    <a:pt x="1433" y="781"/>
                    <a:pt x="1435" y="778"/>
                    <a:pt x="1435" y="773"/>
                  </a:cubicBezTo>
                  <a:close/>
                  <a:moveTo>
                    <a:pt x="838" y="783"/>
                  </a:moveTo>
                  <a:cubicBezTo>
                    <a:pt x="840" y="788"/>
                    <a:pt x="850" y="790"/>
                    <a:pt x="855" y="784"/>
                  </a:cubicBezTo>
                  <a:cubicBezTo>
                    <a:pt x="853" y="773"/>
                    <a:pt x="835" y="771"/>
                    <a:pt x="838" y="783"/>
                  </a:cubicBezTo>
                  <a:close/>
                  <a:moveTo>
                    <a:pt x="1340" y="785"/>
                  </a:moveTo>
                  <a:cubicBezTo>
                    <a:pt x="1340" y="781"/>
                    <a:pt x="1340" y="777"/>
                    <a:pt x="1336" y="776"/>
                  </a:cubicBezTo>
                  <a:cubicBezTo>
                    <a:pt x="1335" y="780"/>
                    <a:pt x="1336" y="785"/>
                    <a:pt x="1340" y="785"/>
                  </a:cubicBezTo>
                  <a:close/>
                  <a:moveTo>
                    <a:pt x="1431" y="783"/>
                  </a:moveTo>
                  <a:cubicBezTo>
                    <a:pt x="1430" y="790"/>
                    <a:pt x="1436" y="788"/>
                    <a:pt x="1436" y="794"/>
                  </a:cubicBezTo>
                  <a:cubicBezTo>
                    <a:pt x="1439" y="794"/>
                    <a:pt x="1439" y="791"/>
                    <a:pt x="1443" y="792"/>
                  </a:cubicBezTo>
                  <a:cubicBezTo>
                    <a:pt x="1443" y="787"/>
                    <a:pt x="1442" y="783"/>
                    <a:pt x="1440" y="781"/>
                  </a:cubicBezTo>
                  <a:cubicBezTo>
                    <a:pt x="1439" y="785"/>
                    <a:pt x="1434" y="780"/>
                    <a:pt x="1431" y="783"/>
                  </a:cubicBezTo>
                  <a:close/>
                  <a:moveTo>
                    <a:pt x="1445" y="781"/>
                  </a:moveTo>
                  <a:cubicBezTo>
                    <a:pt x="1445" y="785"/>
                    <a:pt x="1445" y="788"/>
                    <a:pt x="1449" y="787"/>
                  </a:cubicBezTo>
                  <a:cubicBezTo>
                    <a:pt x="1449" y="783"/>
                    <a:pt x="1449" y="780"/>
                    <a:pt x="1445" y="781"/>
                  </a:cubicBezTo>
                  <a:close/>
                  <a:moveTo>
                    <a:pt x="1414" y="797"/>
                  </a:moveTo>
                  <a:cubicBezTo>
                    <a:pt x="1415" y="797"/>
                    <a:pt x="1416" y="797"/>
                    <a:pt x="1416" y="798"/>
                  </a:cubicBezTo>
                  <a:cubicBezTo>
                    <a:pt x="1420" y="795"/>
                    <a:pt x="1420" y="793"/>
                    <a:pt x="1426" y="796"/>
                  </a:cubicBezTo>
                  <a:cubicBezTo>
                    <a:pt x="1426" y="793"/>
                    <a:pt x="1427" y="792"/>
                    <a:pt x="1427" y="789"/>
                  </a:cubicBezTo>
                  <a:cubicBezTo>
                    <a:pt x="1421" y="784"/>
                    <a:pt x="1414" y="788"/>
                    <a:pt x="1414" y="797"/>
                  </a:cubicBezTo>
                  <a:close/>
                  <a:moveTo>
                    <a:pt x="979" y="846"/>
                  </a:moveTo>
                  <a:cubicBezTo>
                    <a:pt x="993" y="846"/>
                    <a:pt x="1003" y="835"/>
                    <a:pt x="1007" y="822"/>
                  </a:cubicBezTo>
                  <a:cubicBezTo>
                    <a:pt x="1000" y="822"/>
                    <a:pt x="1000" y="828"/>
                    <a:pt x="994" y="829"/>
                  </a:cubicBezTo>
                  <a:cubicBezTo>
                    <a:pt x="992" y="838"/>
                    <a:pt x="979" y="839"/>
                    <a:pt x="979" y="846"/>
                  </a:cubicBezTo>
                  <a:close/>
                  <a:moveTo>
                    <a:pt x="946" y="1040"/>
                  </a:moveTo>
                  <a:cubicBezTo>
                    <a:pt x="939" y="1026"/>
                    <a:pt x="951" y="1014"/>
                    <a:pt x="954" y="999"/>
                  </a:cubicBezTo>
                  <a:cubicBezTo>
                    <a:pt x="952" y="999"/>
                    <a:pt x="953" y="996"/>
                    <a:pt x="951" y="997"/>
                  </a:cubicBezTo>
                  <a:cubicBezTo>
                    <a:pt x="947" y="1005"/>
                    <a:pt x="931" y="1007"/>
                    <a:pt x="939" y="1021"/>
                  </a:cubicBezTo>
                  <a:cubicBezTo>
                    <a:pt x="937" y="1023"/>
                    <a:pt x="938" y="1026"/>
                    <a:pt x="934" y="1026"/>
                  </a:cubicBezTo>
                  <a:cubicBezTo>
                    <a:pt x="934" y="1023"/>
                    <a:pt x="935" y="1020"/>
                    <a:pt x="933" y="1018"/>
                  </a:cubicBezTo>
                  <a:cubicBezTo>
                    <a:pt x="925" y="1020"/>
                    <a:pt x="935" y="1031"/>
                    <a:pt x="929" y="1037"/>
                  </a:cubicBezTo>
                  <a:cubicBezTo>
                    <a:pt x="923" y="1040"/>
                    <a:pt x="913" y="1026"/>
                    <a:pt x="912" y="1038"/>
                  </a:cubicBezTo>
                  <a:cubicBezTo>
                    <a:pt x="917" y="1041"/>
                    <a:pt x="918" y="1047"/>
                    <a:pt x="923" y="1049"/>
                  </a:cubicBezTo>
                  <a:cubicBezTo>
                    <a:pt x="923" y="1055"/>
                    <a:pt x="923" y="1055"/>
                    <a:pt x="923" y="1055"/>
                  </a:cubicBezTo>
                  <a:cubicBezTo>
                    <a:pt x="931" y="1055"/>
                    <a:pt x="931" y="1055"/>
                    <a:pt x="931" y="1055"/>
                  </a:cubicBezTo>
                  <a:cubicBezTo>
                    <a:pt x="934" y="1069"/>
                    <a:pt x="947" y="1073"/>
                    <a:pt x="951" y="1086"/>
                  </a:cubicBezTo>
                  <a:cubicBezTo>
                    <a:pt x="954" y="1086"/>
                    <a:pt x="957" y="1086"/>
                    <a:pt x="958" y="1085"/>
                  </a:cubicBezTo>
                  <a:cubicBezTo>
                    <a:pt x="959" y="1078"/>
                    <a:pt x="954" y="1078"/>
                    <a:pt x="951" y="1075"/>
                  </a:cubicBezTo>
                  <a:cubicBezTo>
                    <a:pt x="952" y="1072"/>
                    <a:pt x="952" y="1068"/>
                    <a:pt x="954" y="1066"/>
                  </a:cubicBezTo>
                  <a:cubicBezTo>
                    <a:pt x="960" y="1066"/>
                    <a:pt x="960" y="1066"/>
                    <a:pt x="960" y="1066"/>
                  </a:cubicBezTo>
                  <a:cubicBezTo>
                    <a:pt x="970" y="1054"/>
                    <a:pt x="950" y="1050"/>
                    <a:pt x="946" y="1040"/>
                  </a:cubicBezTo>
                  <a:close/>
                  <a:moveTo>
                    <a:pt x="1025" y="1138"/>
                  </a:moveTo>
                  <a:cubicBezTo>
                    <a:pt x="1020" y="1130"/>
                    <a:pt x="1012" y="1116"/>
                    <a:pt x="1002" y="1113"/>
                  </a:cubicBezTo>
                  <a:cubicBezTo>
                    <a:pt x="993" y="1101"/>
                    <a:pt x="984" y="1089"/>
                    <a:pt x="975" y="1076"/>
                  </a:cubicBezTo>
                  <a:cubicBezTo>
                    <a:pt x="974" y="1079"/>
                    <a:pt x="970" y="1078"/>
                    <a:pt x="971" y="1083"/>
                  </a:cubicBezTo>
                  <a:cubicBezTo>
                    <a:pt x="968" y="1082"/>
                    <a:pt x="968" y="1078"/>
                    <a:pt x="966" y="1081"/>
                  </a:cubicBezTo>
                  <a:cubicBezTo>
                    <a:pt x="965" y="1082"/>
                    <a:pt x="965" y="1083"/>
                    <a:pt x="964" y="1084"/>
                  </a:cubicBezTo>
                  <a:cubicBezTo>
                    <a:pt x="966" y="1098"/>
                    <a:pt x="984" y="1103"/>
                    <a:pt x="979" y="1118"/>
                  </a:cubicBezTo>
                  <a:cubicBezTo>
                    <a:pt x="987" y="1118"/>
                    <a:pt x="987" y="1118"/>
                    <a:pt x="987" y="1118"/>
                  </a:cubicBezTo>
                  <a:cubicBezTo>
                    <a:pt x="988" y="1124"/>
                    <a:pt x="996" y="1127"/>
                    <a:pt x="994" y="1134"/>
                  </a:cubicBezTo>
                  <a:cubicBezTo>
                    <a:pt x="996" y="1134"/>
                    <a:pt x="998" y="1135"/>
                    <a:pt x="999" y="1136"/>
                  </a:cubicBezTo>
                  <a:cubicBezTo>
                    <a:pt x="995" y="1146"/>
                    <a:pt x="1004" y="1146"/>
                    <a:pt x="1005" y="1153"/>
                  </a:cubicBezTo>
                  <a:cubicBezTo>
                    <a:pt x="1015" y="1154"/>
                    <a:pt x="1023" y="1149"/>
                    <a:pt x="1029" y="1153"/>
                  </a:cubicBezTo>
                  <a:cubicBezTo>
                    <a:pt x="1037" y="1146"/>
                    <a:pt x="1029" y="1144"/>
                    <a:pt x="1025" y="1138"/>
                  </a:cubicBezTo>
                  <a:close/>
                  <a:moveTo>
                    <a:pt x="1225" y="1079"/>
                  </a:moveTo>
                  <a:cubicBezTo>
                    <a:pt x="1226" y="1083"/>
                    <a:pt x="1228" y="1085"/>
                    <a:pt x="1231" y="1086"/>
                  </a:cubicBezTo>
                  <a:cubicBezTo>
                    <a:pt x="1233" y="1085"/>
                    <a:pt x="1235" y="1084"/>
                    <a:pt x="1234" y="1080"/>
                  </a:cubicBezTo>
                  <a:cubicBezTo>
                    <a:pt x="1230" y="1078"/>
                    <a:pt x="1228" y="1080"/>
                    <a:pt x="1225" y="1079"/>
                  </a:cubicBezTo>
                  <a:close/>
                  <a:moveTo>
                    <a:pt x="901" y="1104"/>
                  </a:moveTo>
                  <a:cubicBezTo>
                    <a:pt x="901" y="1108"/>
                    <a:pt x="898" y="1112"/>
                    <a:pt x="903" y="1112"/>
                  </a:cubicBezTo>
                  <a:cubicBezTo>
                    <a:pt x="904" y="1110"/>
                    <a:pt x="906" y="1109"/>
                    <a:pt x="906" y="1106"/>
                  </a:cubicBezTo>
                  <a:cubicBezTo>
                    <a:pt x="905" y="1105"/>
                    <a:pt x="904" y="1103"/>
                    <a:pt x="901" y="1104"/>
                  </a:cubicBezTo>
                  <a:close/>
                  <a:moveTo>
                    <a:pt x="1154" y="1110"/>
                  </a:moveTo>
                  <a:cubicBezTo>
                    <a:pt x="1151" y="1110"/>
                    <a:pt x="1147" y="1112"/>
                    <a:pt x="1149" y="1115"/>
                  </a:cubicBezTo>
                  <a:cubicBezTo>
                    <a:pt x="1153" y="1115"/>
                    <a:pt x="1153" y="1112"/>
                    <a:pt x="1154" y="1110"/>
                  </a:cubicBezTo>
                  <a:close/>
                  <a:moveTo>
                    <a:pt x="1175" y="1111"/>
                  </a:moveTo>
                  <a:cubicBezTo>
                    <a:pt x="1173" y="1113"/>
                    <a:pt x="1176" y="1115"/>
                    <a:pt x="1175" y="1118"/>
                  </a:cubicBezTo>
                  <a:cubicBezTo>
                    <a:pt x="1179" y="1119"/>
                    <a:pt x="1180" y="1111"/>
                    <a:pt x="1175" y="1111"/>
                  </a:cubicBezTo>
                  <a:close/>
                  <a:moveTo>
                    <a:pt x="1144" y="1116"/>
                  </a:moveTo>
                  <a:cubicBezTo>
                    <a:pt x="1144" y="1120"/>
                    <a:pt x="1144" y="1120"/>
                    <a:pt x="1144" y="1120"/>
                  </a:cubicBezTo>
                  <a:cubicBezTo>
                    <a:pt x="1147" y="1120"/>
                    <a:pt x="1147" y="1118"/>
                    <a:pt x="1147" y="1116"/>
                  </a:cubicBezTo>
                  <a:lnTo>
                    <a:pt x="1144" y="1116"/>
                  </a:lnTo>
                  <a:close/>
                  <a:moveTo>
                    <a:pt x="1146" y="1122"/>
                  </a:moveTo>
                  <a:cubicBezTo>
                    <a:pt x="1143" y="1135"/>
                    <a:pt x="1144" y="1142"/>
                    <a:pt x="1141" y="1155"/>
                  </a:cubicBezTo>
                  <a:cubicBezTo>
                    <a:pt x="1144" y="1155"/>
                    <a:pt x="1144" y="1153"/>
                    <a:pt x="1145" y="1153"/>
                  </a:cubicBezTo>
                  <a:cubicBezTo>
                    <a:pt x="1144" y="1158"/>
                    <a:pt x="1150" y="1156"/>
                    <a:pt x="1151" y="1158"/>
                  </a:cubicBezTo>
                  <a:cubicBezTo>
                    <a:pt x="1155" y="1153"/>
                    <a:pt x="1162" y="1150"/>
                    <a:pt x="1164" y="1142"/>
                  </a:cubicBezTo>
                  <a:cubicBezTo>
                    <a:pt x="1162" y="1142"/>
                    <a:pt x="1161" y="1141"/>
                    <a:pt x="1161" y="1140"/>
                  </a:cubicBezTo>
                  <a:cubicBezTo>
                    <a:pt x="1164" y="1136"/>
                    <a:pt x="1170" y="1129"/>
                    <a:pt x="1169" y="1124"/>
                  </a:cubicBezTo>
                  <a:cubicBezTo>
                    <a:pt x="1162" y="1128"/>
                    <a:pt x="1153" y="1128"/>
                    <a:pt x="1146" y="1122"/>
                  </a:cubicBezTo>
                  <a:close/>
                  <a:moveTo>
                    <a:pt x="1020" y="1158"/>
                  </a:moveTo>
                  <a:cubicBezTo>
                    <a:pt x="1020" y="1162"/>
                    <a:pt x="1019" y="1166"/>
                    <a:pt x="1023" y="1166"/>
                  </a:cubicBezTo>
                  <a:cubicBezTo>
                    <a:pt x="1023" y="1163"/>
                    <a:pt x="1024" y="1162"/>
                    <a:pt x="1024" y="1158"/>
                  </a:cubicBezTo>
                  <a:cubicBezTo>
                    <a:pt x="1022" y="1157"/>
                    <a:pt x="1021" y="1158"/>
                    <a:pt x="1020" y="1158"/>
                  </a:cubicBezTo>
                  <a:close/>
                  <a:moveTo>
                    <a:pt x="372" y="1399"/>
                  </a:moveTo>
                  <a:cubicBezTo>
                    <a:pt x="375" y="1401"/>
                    <a:pt x="379" y="1406"/>
                    <a:pt x="382" y="1404"/>
                  </a:cubicBezTo>
                  <a:cubicBezTo>
                    <a:pt x="379" y="1403"/>
                    <a:pt x="375" y="1397"/>
                    <a:pt x="372" y="1399"/>
                  </a:cubicBezTo>
                  <a:close/>
                  <a:moveTo>
                    <a:pt x="350" y="1365"/>
                  </a:moveTo>
                  <a:cubicBezTo>
                    <a:pt x="350" y="1365"/>
                    <a:pt x="350" y="1365"/>
                    <a:pt x="350" y="1365"/>
                  </a:cubicBezTo>
                  <a:cubicBezTo>
                    <a:pt x="353" y="1367"/>
                    <a:pt x="356" y="1367"/>
                    <a:pt x="350" y="1365"/>
                  </a:cubicBezTo>
                  <a:close/>
                  <a:moveTo>
                    <a:pt x="591" y="28"/>
                  </a:moveTo>
                  <a:cubicBezTo>
                    <a:pt x="592" y="25"/>
                    <a:pt x="590" y="23"/>
                    <a:pt x="591" y="23"/>
                  </a:cubicBezTo>
                  <a:cubicBezTo>
                    <a:pt x="602" y="24"/>
                    <a:pt x="601" y="19"/>
                    <a:pt x="605" y="15"/>
                  </a:cubicBezTo>
                  <a:cubicBezTo>
                    <a:pt x="599" y="12"/>
                    <a:pt x="593" y="13"/>
                    <a:pt x="588" y="12"/>
                  </a:cubicBezTo>
                  <a:cubicBezTo>
                    <a:pt x="594" y="7"/>
                    <a:pt x="608" y="10"/>
                    <a:pt x="614" y="5"/>
                  </a:cubicBezTo>
                  <a:cubicBezTo>
                    <a:pt x="610" y="4"/>
                    <a:pt x="605" y="6"/>
                    <a:pt x="603" y="4"/>
                  </a:cubicBezTo>
                  <a:cubicBezTo>
                    <a:pt x="606" y="2"/>
                    <a:pt x="610" y="3"/>
                    <a:pt x="612" y="0"/>
                  </a:cubicBezTo>
                  <a:cubicBezTo>
                    <a:pt x="487" y="24"/>
                    <a:pt x="387" y="79"/>
                    <a:pt x="301" y="144"/>
                  </a:cubicBezTo>
                  <a:cubicBezTo>
                    <a:pt x="236" y="192"/>
                    <a:pt x="180" y="252"/>
                    <a:pt x="135" y="319"/>
                  </a:cubicBezTo>
                  <a:cubicBezTo>
                    <a:pt x="120" y="342"/>
                    <a:pt x="105" y="366"/>
                    <a:pt x="95" y="391"/>
                  </a:cubicBezTo>
                  <a:cubicBezTo>
                    <a:pt x="111" y="364"/>
                    <a:pt x="123" y="331"/>
                    <a:pt x="147" y="317"/>
                  </a:cubicBezTo>
                  <a:cubicBezTo>
                    <a:pt x="145" y="321"/>
                    <a:pt x="140" y="326"/>
                    <a:pt x="140" y="329"/>
                  </a:cubicBezTo>
                  <a:cubicBezTo>
                    <a:pt x="148" y="322"/>
                    <a:pt x="156" y="311"/>
                    <a:pt x="166" y="309"/>
                  </a:cubicBezTo>
                  <a:cubicBezTo>
                    <a:pt x="164" y="311"/>
                    <a:pt x="163" y="314"/>
                    <a:pt x="163" y="318"/>
                  </a:cubicBezTo>
                  <a:cubicBezTo>
                    <a:pt x="166" y="320"/>
                    <a:pt x="167" y="316"/>
                    <a:pt x="167" y="318"/>
                  </a:cubicBezTo>
                  <a:cubicBezTo>
                    <a:pt x="171" y="330"/>
                    <a:pt x="160" y="336"/>
                    <a:pt x="158" y="346"/>
                  </a:cubicBezTo>
                  <a:cubicBezTo>
                    <a:pt x="156" y="351"/>
                    <a:pt x="158" y="356"/>
                    <a:pt x="157" y="361"/>
                  </a:cubicBezTo>
                  <a:cubicBezTo>
                    <a:pt x="149" y="384"/>
                    <a:pt x="135" y="410"/>
                    <a:pt x="126" y="429"/>
                  </a:cubicBezTo>
                  <a:cubicBezTo>
                    <a:pt x="119" y="429"/>
                    <a:pt x="120" y="437"/>
                    <a:pt x="115" y="439"/>
                  </a:cubicBezTo>
                  <a:cubicBezTo>
                    <a:pt x="112" y="435"/>
                    <a:pt x="102" y="441"/>
                    <a:pt x="102" y="442"/>
                  </a:cubicBezTo>
                  <a:cubicBezTo>
                    <a:pt x="100" y="433"/>
                    <a:pt x="104" y="424"/>
                    <a:pt x="107" y="414"/>
                  </a:cubicBezTo>
                  <a:cubicBezTo>
                    <a:pt x="88" y="415"/>
                    <a:pt x="89" y="434"/>
                    <a:pt x="86" y="457"/>
                  </a:cubicBezTo>
                  <a:cubicBezTo>
                    <a:pt x="84" y="467"/>
                    <a:pt x="78" y="475"/>
                    <a:pt x="81" y="483"/>
                  </a:cubicBezTo>
                  <a:cubicBezTo>
                    <a:pt x="75" y="483"/>
                    <a:pt x="73" y="494"/>
                    <a:pt x="68" y="489"/>
                  </a:cubicBezTo>
                  <a:cubicBezTo>
                    <a:pt x="44" y="516"/>
                    <a:pt x="54" y="570"/>
                    <a:pt x="33" y="599"/>
                  </a:cubicBezTo>
                  <a:cubicBezTo>
                    <a:pt x="33" y="596"/>
                    <a:pt x="31" y="595"/>
                    <a:pt x="30" y="593"/>
                  </a:cubicBezTo>
                  <a:cubicBezTo>
                    <a:pt x="26" y="599"/>
                    <a:pt x="25" y="609"/>
                    <a:pt x="21" y="615"/>
                  </a:cubicBezTo>
                  <a:cubicBezTo>
                    <a:pt x="18" y="607"/>
                    <a:pt x="27" y="596"/>
                    <a:pt x="20" y="590"/>
                  </a:cubicBezTo>
                  <a:cubicBezTo>
                    <a:pt x="10" y="650"/>
                    <a:pt x="0" y="715"/>
                    <a:pt x="5" y="784"/>
                  </a:cubicBezTo>
                  <a:cubicBezTo>
                    <a:pt x="12" y="892"/>
                    <a:pt x="35" y="979"/>
                    <a:pt x="71" y="1063"/>
                  </a:cubicBezTo>
                  <a:cubicBezTo>
                    <a:pt x="107" y="1146"/>
                    <a:pt x="158" y="1216"/>
                    <a:pt x="210" y="1273"/>
                  </a:cubicBezTo>
                  <a:cubicBezTo>
                    <a:pt x="217" y="1280"/>
                    <a:pt x="223" y="1288"/>
                    <a:pt x="231" y="1292"/>
                  </a:cubicBezTo>
                  <a:cubicBezTo>
                    <a:pt x="230" y="1292"/>
                    <a:pt x="230" y="1290"/>
                    <a:pt x="230" y="1289"/>
                  </a:cubicBezTo>
                  <a:cubicBezTo>
                    <a:pt x="236" y="1294"/>
                    <a:pt x="240" y="1301"/>
                    <a:pt x="247" y="1304"/>
                  </a:cubicBezTo>
                  <a:cubicBezTo>
                    <a:pt x="247" y="1301"/>
                    <a:pt x="241" y="1299"/>
                    <a:pt x="243" y="1297"/>
                  </a:cubicBezTo>
                  <a:cubicBezTo>
                    <a:pt x="252" y="1303"/>
                    <a:pt x="256" y="1316"/>
                    <a:pt x="268" y="1319"/>
                  </a:cubicBezTo>
                  <a:cubicBezTo>
                    <a:pt x="276" y="1330"/>
                    <a:pt x="291" y="1332"/>
                    <a:pt x="302" y="1343"/>
                  </a:cubicBezTo>
                  <a:cubicBezTo>
                    <a:pt x="304" y="1345"/>
                    <a:pt x="306" y="1349"/>
                    <a:pt x="308" y="1351"/>
                  </a:cubicBezTo>
                  <a:cubicBezTo>
                    <a:pt x="320" y="1362"/>
                    <a:pt x="338" y="1366"/>
                    <a:pt x="351" y="1374"/>
                  </a:cubicBezTo>
                  <a:cubicBezTo>
                    <a:pt x="355" y="1378"/>
                    <a:pt x="359" y="1382"/>
                    <a:pt x="363" y="1383"/>
                  </a:cubicBezTo>
                  <a:cubicBezTo>
                    <a:pt x="365" y="1384"/>
                    <a:pt x="368" y="1380"/>
                    <a:pt x="369" y="1383"/>
                  </a:cubicBezTo>
                  <a:cubicBezTo>
                    <a:pt x="368" y="1376"/>
                    <a:pt x="360" y="1372"/>
                    <a:pt x="354" y="1370"/>
                  </a:cubicBezTo>
                  <a:cubicBezTo>
                    <a:pt x="355" y="1370"/>
                    <a:pt x="355" y="1371"/>
                    <a:pt x="354" y="1372"/>
                  </a:cubicBezTo>
                  <a:cubicBezTo>
                    <a:pt x="352" y="1370"/>
                    <a:pt x="349" y="1370"/>
                    <a:pt x="350" y="1365"/>
                  </a:cubicBezTo>
                  <a:cubicBezTo>
                    <a:pt x="347" y="1364"/>
                    <a:pt x="344" y="1363"/>
                    <a:pt x="343" y="1361"/>
                  </a:cubicBezTo>
                  <a:cubicBezTo>
                    <a:pt x="344" y="1361"/>
                    <a:pt x="345" y="1363"/>
                    <a:pt x="346" y="1361"/>
                  </a:cubicBezTo>
                  <a:cubicBezTo>
                    <a:pt x="341" y="1360"/>
                    <a:pt x="342" y="1359"/>
                    <a:pt x="340" y="1357"/>
                  </a:cubicBezTo>
                  <a:cubicBezTo>
                    <a:pt x="338" y="1356"/>
                    <a:pt x="333" y="1355"/>
                    <a:pt x="331" y="1353"/>
                  </a:cubicBezTo>
                  <a:cubicBezTo>
                    <a:pt x="330" y="1352"/>
                    <a:pt x="331" y="1351"/>
                    <a:pt x="329" y="1350"/>
                  </a:cubicBezTo>
                  <a:cubicBezTo>
                    <a:pt x="325" y="1345"/>
                    <a:pt x="311" y="1333"/>
                    <a:pt x="308" y="1333"/>
                  </a:cubicBezTo>
                  <a:cubicBezTo>
                    <a:pt x="307" y="1333"/>
                    <a:pt x="308" y="1337"/>
                    <a:pt x="306" y="1336"/>
                  </a:cubicBezTo>
                  <a:cubicBezTo>
                    <a:pt x="305" y="1335"/>
                    <a:pt x="296" y="1327"/>
                    <a:pt x="294" y="1324"/>
                  </a:cubicBezTo>
                  <a:cubicBezTo>
                    <a:pt x="291" y="1318"/>
                    <a:pt x="288" y="1314"/>
                    <a:pt x="282" y="1314"/>
                  </a:cubicBezTo>
                  <a:cubicBezTo>
                    <a:pt x="284" y="1314"/>
                    <a:pt x="283" y="1316"/>
                    <a:pt x="284" y="1317"/>
                  </a:cubicBezTo>
                  <a:cubicBezTo>
                    <a:pt x="278" y="1309"/>
                    <a:pt x="275" y="1312"/>
                    <a:pt x="272" y="1304"/>
                  </a:cubicBezTo>
                  <a:cubicBezTo>
                    <a:pt x="270" y="1303"/>
                    <a:pt x="270" y="1305"/>
                    <a:pt x="267" y="1304"/>
                  </a:cubicBezTo>
                  <a:cubicBezTo>
                    <a:pt x="259" y="1294"/>
                    <a:pt x="247" y="1287"/>
                    <a:pt x="238" y="1277"/>
                  </a:cubicBezTo>
                  <a:cubicBezTo>
                    <a:pt x="239" y="1276"/>
                    <a:pt x="240" y="1277"/>
                    <a:pt x="240" y="1276"/>
                  </a:cubicBezTo>
                  <a:cubicBezTo>
                    <a:pt x="217" y="1251"/>
                    <a:pt x="185" y="1222"/>
                    <a:pt x="162" y="1193"/>
                  </a:cubicBezTo>
                  <a:cubicBezTo>
                    <a:pt x="147" y="1174"/>
                    <a:pt x="132" y="1148"/>
                    <a:pt x="118" y="1127"/>
                  </a:cubicBezTo>
                  <a:cubicBezTo>
                    <a:pt x="115" y="1122"/>
                    <a:pt x="111" y="1119"/>
                    <a:pt x="109" y="1114"/>
                  </a:cubicBezTo>
                  <a:cubicBezTo>
                    <a:pt x="106" y="1110"/>
                    <a:pt x="104" y="1104"/>
                    <a:pt x="101" y="1099"/>
                  </a:cubicBezTo>
                  <a:cubicBezTo>
                    <a:pt x="80" y="1063"/>
                    <a:pt x="53" y="1020"/>
                    <a:pt x="49" y="971"/>
                  </a:cubicBezTo>
                  <a:cubicBezTo>
                    <a:pt x="47" y="941"/>
                    <a:pt x="42" y="920"/>
                    <a:pt x="38" y="891"/>
                  </a:cubicBezTo>
                  <a:cubicBezTo>
                    <a:pt x="36" y="880"/>
                    <a:pt x="34" y="869"/>
                    <a:pt x="34" y="858"/>
                  </a:cubicBezTo>
                  <a:cubicBezTo>
                    <a:pt x="32" y="836"/>
                    <a:pt x="34" y="810"/>
                    <a:pt x="33" y="793"/>
                  </a:cubicBezTo>
                  <a:cubicBezTo>
                    <a:pt x="32" y="787"/>
                    <a:pt x="35" y="780"/>
                    <a:pt x="33" y="774"/>
                  </a:cubicBezTo>
                  <a:cubicBezTo>
                    <a:pt x="32" y="770"/>
                    <a:pt x="27" y="768"/>
                    <a:pt x="26" y="763"/>
                  </a:cubicBezTo>
                  <a:cubicBezTo>
                    <a:pt x="26" y="760"/>
                    <a:pt x="29" y="756"/>
                    <a:pt x="29" y="752"/>
                  </a:cubicBezTo>
                  <a:cubicBezTo>
                    <a:pt x="30" y="738"/>
                    <a:pt x="23" y="722"/>
                    <a:pt x="25" y="708"/>
                  </a:cubicBezTo>
                  <a:cubicBezTo>
                    <a:pt x="23" y="706"/>
                    <a:pt x="24" y="710"/>
                    <a:pt x="21" y="709"/>
                  </a:cubicBezTo>
                  <a:cubicBezTo>
                    <a:pt x="14" y="674"/>
                    <a:pt x="18" y="636"/>
                    <a:pt x="29" y="604"/>
                  </a:cubicBezTo>
                  <a:cubicBezTo>
                    <a:pt x="32" y="610"/>
                    <a:pt x="29" y="615"/>
                    <a:pt x="28" y="622"/>
                  </a:cubicBezTo>
                  <a:cubicBezTo>
                    <a:pt x="37" y="607"/>
                    <a:pt x="43" y="590"/>
                    <a:pt x="49" y="572"/>
                  </a:cubicBezTo>
                  <a:cubicBezTo>
                    <a:pt x="49" y="573"/>
                    <a:pt x="49" y="575"/>
                    <a:pt x="50" y="575"/>
                  </a:cubicBezTo>
                  <a:cubicBezTo>
                    <a:pt x="56" y="556"/>
                    <a:pt x="63" y="536"/>
                    <a:pt x="67" y="519"/>
                  </a:cubicBezTo>
                  <a:cubicBezTo>
                    <a:pt x="71" y="521"/>
                    <a:pt x="70" y="517"/>
                    <a:pt x="74" y="517"/>
                  </a:cubicBezTo>
                  <a:cubicBezTo>
                    <a:pt x="90" y="502"/>
                    <a:pt x="98" y="478"/>
                    <a:pt x="112" y="462"/>
                  </a:cubicBezTo>
                  <a:cubicBezTo>
                    <a:pt x="115" y="463"/>
                    <a:pt x="118" y="465"/>
                    <a:pt x="121" y="465"/>
                  </a:cubicBezTo>
                  <a:cubicBezTo>
                    <a:pt x="122" y="460"/>
                    <a:pt x="128" y="460"/>
                    <a:pt x="132" y="457"/>
                  </a:cubicBezTo>
                  <a:cubicBezTo>
                    <a:pt x="135" y="453"/>
                    <a:pt x="136" y="447"/>
                    <a:pt x="139" y="444"/>
                  </a:cubicBezTo>
                  <a:cubicBezTo>
                    <a:pt x="141" y="442"/>
                    <a:pt x="146" y="442"/>
                    <a:pt x="149" y="439"/>
                  </a:cubicBezTo>
                  <a:cubicBezTo>
                    <a:pt x="157" y="434"/>
                    <a:pt x="160" y="423"/>
                    <a:pt x="166" y="419"/>
                  </a:cubicBezTo>
                  <a:cubicBezTo>
                    <a:pt x="175" y="414"/>
                    <a:pt x="173" y="411"/>
                    <a:pt x="182" y="403"/>
                  </a:cubicBezTo>
                  <a:cubicBezTo>
                    <a:pt x="190" y="395"/>
                    <a:pt x="199" y="387"/>
                    <a:pt x="194" y="374"/>
                  </a:cubicBezTo>
                  <a:cubicBezTo>
                    <a:pt x="205" y="352"/>
                    <a:pt x="220" y="334"/>
                    <a:pt x="236" y="318"/>
                  </a:cubicBezTo>
                  <a:cubicBezTo>
                    <a:pt x="238" y="315"/>
                    <a:pt x="235" y="315"/>
                    <a:pt x="235" y="312"/>
                  </a:cubicBezTo>
                  <a:cubicBezTo>
                    <a:pt x="241" y="305"/>
                    <a:pt x="249" y="302"/>
                    <a:pt x="252" y="294"/>
                  </a:cubicBezTo>
                  <a:cubicBezTo>
                    <a:pt x="269" y="284"/>
                    <a:pt x="270" y="254"/>
                    <a:pt x="290" y="250"/>
                  </a:cubicBezTo>
                  <a:cubicBezTo>
                    <a:pt x="287" y="265"/>
                    <a:pt x="276" y="272"/>
                    <a:pt x="269" y="282"/>
                  </a:cubicBezTo>
                  <a:cubicBezTo>
                    <a:pt x="264" y="289"/>
                    <a:pt x="262" y="297"/>
                    <a:pt x="257" y="302"/>
                  </a:cubicBezTo>
                  <a:cubicBezTo>
                    <a:pt x="256" y="304"/>
                    <a:pt x="253" y="304"/>
                    <a:pt x="252" y="306"/>
                  </a:cubicBezTo>
                  <a:cubicBezTo>
                    <a:pt x="247" y="313"/>
                    <a:pt x="247" y="322"/>
                    <a:pt x="242" y="329"/>
                  </a:cubicBezTo>
                  <a:cubicBezTo>
                    <a:pt x="238" y="335"/>
                    <a:pt x="227" y="338"/>
                    <a:pt x="230" y="348"/>
                  </a:cubicBezTo>
                  <a:cubicBezTo>
                    <a:pt x="235" y="349"/>
                    <a:pt x="235" y="344"/>
                    <a:pt x="236" y="341"/>
                  </a:cubicBezTo>
                  <a:cubicBezTo>
                    <a:pt x="250" y="331"/>
                    <a:pt x="256" y="313"/>
                    <a:pt x="266" y="300"/>
                  </a:cubicBezTo>
                  <a:cubicBezTo>
                    <a:pt x="274" y="298"/>
                    <a:pt x="278" y="292"/>
                    <a:pt x="282" y="287"/>
                  </a:cubicBezTo>
                  <a:cubicBezTo>
                    <a:pt x="280" y="286"/>
                    <a:pt x="278" y="290"/>
                    <a:pt x="277" y="287"/>
                  </a:cubicBezTo>
                  <a:cubicBezTo>
                    <a:pt x="276" y="277"/>
                    <a:pt x="284" y="275"/>
                    <a:pt x="290" y="269"/>
                  </a:cubicBezTo>
                  <a:cubicBezTo>
                    <a:pt x="302" y="255"/>
                    <a:pt x="307" y="230"/>
                    <a:pt x="322" y="222"/>
                  </a:cubicBezTo>
                  <a:cubicBezTo>
                    <a:pt x="329" y="222"/>
                    <a:pt x="330" y="215"/>
                    <a:pt x="337" y="215"/>
                  </a:cubicBezTo>
                  <a:cubicBezTo>
                    <a:pt x="342" y="203"/>
                    <a:pt x="352" y="196"/>
                    <a:pt x="358" y="185"/>
                  </a:cubicBezTo>
                  <a:cubicBezTo>
                    <a:pt x="358" y="183"/>
                    <a:pt x="357" y="183"/>
                    <a:pt x="356" y="182"/>
                  </a:cubicBezTo>
                  <a:cubicBezTo>
                    <a:pt x="368" y="179"/>
                    <a:pt x="369" y="165"/>
                    <a:pt x="376" y="158"/>
                  </a:cubicBezTo>
                  <a:cubicBezTo>
                    <a:pt x="376" y="156"/>
                    <a:pt x="375" y="155"/>
                    <a:pt x="375" y="152"/>
                  </a:cubicBezTo>
                  <a:cubicBezTo>
                    <a:pt x="385" y="137"/>
                    <a:pt x="388" y="111"/>
                    <a:pt x="401" y="103"/>
                  </a:cubicBezTo>
                  <a:cubicBezTo>
                    <a:pt x="410" y="97"/>
                    <a:pt x="420" y="92"/>
                    <a:pt x="428" y="85"/>
                  </a:cubicBezTo>
                  <a:cubicBezTo>
                    <a:pt x="425" y="84"/>
                    <a:pt x="423" y="88"/>
                    <a:pt x="423" y="86"/>
                  </a:cubicBezTo>
                  <a:cubicBezTo>
                    <a:pt x="431" y="82"/>
                    <a:pt x="428" y="76"/>
                    <a:pt x="439" y="76"/>
                  </a:cubicBezTo>
                  <a:cubicBezTo>
                    <a:pt x="439" y="73"/>
                    <a:pt x="437" y="72"/>
                    <a:pt x="442" y="70"/>
                  </a:cubicBezTo>
                  <a:cubicBezTo>
                    <a:pt x="440" y="72"/>
                    <a:pt x="442" y="72"/>
                    <a:pt x="445" y="72"/>
                  </a:cubicBezTo>
                  <a:cubicBezTo>
                    <a:pt x="447" y="62"/>
                    <a:pt x="465" y="63"/>
                    <a:pt x="468" y="55"/>
                  </a:cubicBezTo>
                  <a:cubicBezTo>
                    <a:pt x="466" y="56"/>
                    <a:pt x="462" y="61"/>
                    <a:pt x="461" y="59"/>
                  </a:cubicBezTo>
                  <a:cubicBezTo>
                    <a:pt x="469" y="52"/>
                    <a:pt x="470" y="54"/>
                    <a:pt x="477" y="50"/>
                  </a:cubicBezTo>
                  <a:cubicBezTo>
                    <a:pt x="477" y="51"/>
                    <a:pt x="476" y="52"/>
                    <a:pt x="477" y="53"/>
                  </a:cubicBezTo>
                  <a:cubicBezTo>
                    <a:pt x="480" y="49"/>
                    <a:pt x="484" y="48"/>
                    <a:pt x="487" y="45"/>
                  </a:cubicBezTo>
                  <a:cubicBezTo>
                    <a:pt x="485" y="44"/>
                    <a:pt x="484" y="48"/>
                    <a:pt x="483" y="45"/>
                  </a:cubicBezTo>
                  <a:cubicBezTo>
                    <a:pt x="501" y="41"/>
                    <a:pt x="519" y="31"/>
                    <a:pt x="540" y="27"/>
                  </a:cubicBezTo>
                  <a:cubicBezTo>
                    <a:pt x="539" y="28"/>
                    <a:pt x="538" y="28"/>
                    <a:pt x="538" y="30"/>
                  </a:cubicBezTo>
                  <a:cubicBezTo>
                    <a:pt x="544" y="28"/>
                    <a:pt x="546" y="34"/>
                    <a:pt x="549" y="30"/>
                  </a:cubicBezTo>
                  <a:cubicBezTo>
                    <a:pt x="548" y="25"/>
                    <a:pt x="550" y="25"/>
                    <a:pt x="556" y="30"/>
                  </a:cubicBezTo>
                  <a:cubicBezTo>
                    <a:pt x="556" y="31"/>
                    <a:pt x="554" y="30"/>
                    <a:pt x="554" y="31"/>
                  </a:cubicBezTo>
                  <a:cubicBezTo>
                    <a:pt x="574" y="38"/>
                    <a:pt x="595" y="44"/>
                    <a:pt x="616" y="42"/>
                  </a:cubicBezTo>
                  <a:cubicBezTo>
                    <a:pt x="602" y="38"/>
                    <a:pt x="583" y="40"/>
                    <a:pt x="571" y="30"/>
                  </a:cubicBezTo>
                  <a:cubicBezTo>
                    <a:pt x="579" y="30"/>
                    <a:pt x="582" y="25"/>
                    <a:pt x="591" y="28"/>
                  </a:cubicBezTo>
                  <a:close/>
                  <a:moveTo>
                    <a:pt x="256" y="1292"/>
                  </a:moveTo>
                  <a:cubicBezTo>
                    <a:pt x="252" y="1287"/>
                    <a:pt x="246" y="1279"/>
                    <a:pt x="241" y="1278"/>
                  </a:cubicBezTo>
                  <a:cubicBezTo>
                    <a:pt x="246" y="1283"/>
                    <a:pt x="250" y="1288"/>
                    <a:pt x="256" y="1292"/>
                  </a:cubicBezTo>
                  <a:close/>
                  <a:moveTo>
                    <a:pt x="974" y="18"/>
                  </a:moveTo>
                  <a:cubicBezTo>
                    <a:pt x="987" y="21"/>
                    <a:pt x="999" y="24"/>
                    <a:pt x="1009" y="30"/>
                  </a:cubicBezTo>
                  <a:cubicBezTo>
                    <a:pt x="1020" y="30"/>
                    <a:pt x="1031" y="34"/>
                    <a:pt x="1035" y="38"/>
                  </a:cubicBezTo>
                  <a:cubicBezTo>
                    <a:pt x="1034" y="38"/>
                    <a:pt x="1034" y="37"/>
                    <a:pt x="1033" y="38"/>
                  </a:cubicBezTo>
                  <a:cubicBezTo>
                    <a:pt x="1038" y="40"/>
                    <a:pt x="1039" y="38"/>
                    <a:pt x="1045" y="43"/>
                  </a:cubicBezTo>
                  <a:cubicBezTo>
                    <a:pt x="1040" y="44"/>
                    <a:pt x="1048" y="45"/>
                    <a:pt x="1046" y="49"/>
                  </a:cubicBezTo>
                  <a:cubicBezTo>
                    <a:pt x="1051" y="51"/>
                    <a:pt x="1055" y="53"/>
                    <a:pt x="1057" y="58"/>
                  </a:cubicBezTo>
                  <a:cubicBezTo>
                    <a:pt x="1072" y="61"/>
                    <a:pt x="1077" y="75"/>
                    <a:pt x="1090" y="79"/>
                  </a:cubicBezTo>
                  <a:cubicBezTo>
                    <a:pt x="1087" y="51"/>
                    <a:pt x="1054" y="46"/>
                    <a:pt x="1033" y="32"/>
                  </a:cubicBezTo>
                  <a:cubicBezTo>
                    <a:pt x="1041" y="36"/>
                    <a:pt x="1035" y="31"/>
                    <a:pt x="1042" y="33"/>
                  </a:cubicBezTo>
                  <a:cubicBezTo>
                    <a:pt x="1058" y="39"/>
                    <a:pt x="1069" y="47"/>
                    <a:pt x="1085" y="51"/>
                  </a:cubicBezTo>
                  <a:cubicBezTo>
                    <a:pt x="1092" y="52"/>
                    <a:pt x="1084" y="48"/>
                    <a:pt x="1084" y="49"/>
                  </a:cubicBezTo>
                  <a:cubicBezTo>
                    <a:pt x="1067" y="39"/>
                    <a:pt x="1047" y="33"/>
                    <a:pt x="1029" y="27"/>
                  </a:cubicBezTo>
                  <a:cubicBezTo>
                    <a:pt x="997" y="15"/>
                    <a:pt x="965" y="2"/>
                    <a:pt x="934" y="6"/>
                  </a:cubicBezTo>
                  <a:cubicBezTo>
                    <a:pt x="947" y="13"/>
                    <a:pt x="966" y="5"/>
                    <a:pt x="974" y="18"/>
                  </a:cubicBezTo>
                  <a:close/>
                  <a:moveTo>
                    <a:pt x="449" y="71"/>
                  </a:moveTo>
                  <a:cubicBezTo>
                    <a:pt x="445" y="77"/>
                    <a:pt x="455" y="69"/>
                    <a:pt x="460" y="65"/>
                  </a:cubicBezTo>
                  <a:cubicBezTo>
                    <a:pt x="455" y="65"/>
                    <a:pt x="455" y="65"/>
                    <a:pt x="455" y="65"/>
                  </a:cubicBezTo>
                  <a:cubicBezTo>
                    <a:pt x="454" y="69"/>
                    <a:pt x="451" y="69"/>
                    <a:pt x="449" y="71"/>
                  </a:cubicBezTo>
                  <a:close/>
                  <a:moveTo>
                    <a:pt x="1139" y="80"/>
                  </a:moveTo>
                  <a:cubicBezTo>
                    <a:pt x="1140" y="81"/>
                    <a:pt x="1141" y="82"/>
                    <a:pt x="1141" y="83"/>
                  </a:cubicBezTo>
                  <a:cubicBezTo>
                    <a:pt x="1139" y="82"/>
                    <a:pt x="1135" y="78"/>
                    <a:pt x="1133" y="79"/>
                  </a:cubicBezTo>
                  <a:cubicBezTo>
                    <a:pt x="1141" y="86"/>
                    <a:pt x="1148" y="94"/>
                    <a:pt x="1153" y="104"/>
                  </a:cubicBezTo>
                  <a:cubicBezTo>
                    <a:pt x="1160" y="105"/>
                    <a:pt x="1169" y="110"/>
                    <a:pt x="1168" y="121"/>
                  </a:cubicBezTo>
                  <a:cubicBezTo>
                    <a:pt x="1171" y="123"/>
                    <a:pt x="1176" y="121"/>
                    <a:pt x="1179" y="126"/>
                  </a:cubicBezTo>
                  <a:cubicBezTo>
                    <a:pt x="1171" y="113"/>
                    <a:pt x="1158" y="101"/>
                    <a:pt x="1150" y="91"/>
                  </a:cubicBezTo>
                  <a:cubicBezTo>
                    <a:pt x="1169" y="106"/>
                    <a:pt x="1187" y="123"/>
                    <a:pt x="1205" y="138"/>
                  </a:cubicBezTo>
                  <a:cubicBezTo>
                    <a:pt x="1215" y="147"/>
                    <a:pt x="1226" y="158"/>
                    <a:pt x="1239" y="161"/>
                  </a:cubicBezTo>
                  <a:cubicBezTo>
                    <a:pt x="1238" y="161"/>
                    <a:pt x="1237" y="159"/>
                    <a:pt x="1239" y="159"/>
                  </a:cubicBezTo>
                  <a:cubicBezTo>
                    <a:pt x="1247" y="166"/>
                    <a:pt x="1254" y="174"/>
                    <a:pt x="1261" y="181"/>
                  </a:cubicBezTo>
                  <a:cubicBezTo>
                    <a:pt x="1266" y="186"/>
                    <a:pt x="1274" y="190"/>
                    <a:pt x="1278" y="196"/>
                  </a:cubicBezTo>
                  <a:cubicBezTo>
                    <a:pt x="1284" y="205"/>
                    <a:pt x="1283" y="220"/>
                    <a:pt x="1289" y="229"/>
                  </a:cubicBezTo>
                  <a:cubicBezTo>
                    <a:pt x="1292" y="233"/>
                    <a:pt x="1297" y="233"/>
                    <a:pt x="1301" y="236"/>
                  </a:cubicBezTo>
                  <a:cubicBezTo>
                    <a:pt x="1305" y="239"/>
                    <a:pt x="1306" y="243"/>
                    <a:pt x="1311" y="243"/>
                  </a:cubicBezTo>
                  <a:cubicBezTo>
                    <a:pt x="1304" y="234"/>
                    <a:pt x="1300" y="223"/>
                    <a:pt x="1294" y="215"/>
                  </a:cubicBezTo>
                  <a:cubicBezTo>
                    <a:pt x="1296" y="214"/>
                    <a:pt x="1299" y="216"/>
                    <a:pt x="1299" y="214"/>
                  </a:cubicBezTo>
                  <a:cubicBezTo>
                    <a:pt x="1296" y="210"/>
                    <a:pt x="1290" y="204"/>
                    <a:pt x="1289" y="200"/>
                  </a:cubicBezTo>
                  <a:cubicBezTo>
                    <a:pt x="1297" y="199"/>
                    <a:pt x="1303" y="213"/>
                    <a:pt x="1309" y="213"/>
                  </a:cubicBezTo>
                  <a:cubicBezTo>
                    <a:pt x="1304" y="208"/>
                    <a:pt x="1296" y="201"/>
                    <a:pt x="1294" y="197"/>
                  </a:cubicBezTo>
                  <a:cubicBezTo>
                    <a:pt x="1306" y="207"/>
                    <a:pt x="1323" y="219"/>
                    <a:pt x="1325" y="231"/>
                  </a:cubicBezTo>
                  <a:cubicBezTo>
                    <a:pt x="1320" y="228"/>
                    <a:pt x="1318" y="221"/>
                    <a:pt x="1312" y="223"/>
                  </a:cubicBezTo>
                  <a:cubicBezTo>
                    <a:pt x="1320" y="235"/>
                    <a:pt x="1335" y="240"/>
                    <a:pt x="1340" y="253"/>
                  </a:cubicBezTo>
                  <a:cubicBezTo>
                    <a:pt x="1341" y="255"/>
                    <a:pt x="1339" y="256"/>
                    <a:pt x="1339" y="258"/>
                  </a:cubicBezTo>
                  <a:cubicBezTo>
                    <a:pt x="1340" y="264"/>
                    <a:pt x="1347" y="270"/>
                    <a:pt x="1346" y="278"/>
                  </a:cubicBezTo>
                  <a:cubicBezTo>
                    <a:pt x="1347" y="279"/>
                    <a:pt x="1351" y="279"/>
                    <a:pt x="1351" y="281"/>
                  </a:cubicBezTo>
                  <a:cubicBezTo>
                    <a:pt x="1346" y="287"/>
                    <a:pt x="1356" y="289"/>
                    <a:pt x="1358" y="294"/>
                  </a:cubicBezTo>
                  <a:cubicBezTo>
                    <a:pt x="1355" y="293"/>
                    <a:pt x="1352" y="291"/>
                    <a:pt x="1349" y="290"/>
                  </a:cubicBezTo>
                  <a:cubicBezTo>
                    <a:pt x="1350" y="296"/>
                    <a:pt x="1356" y="297"/>
                    <a:pt x="1357" y="304"/>
                  </a:cubicBezTo>
                  <a:cubicBezTo>
                    <a:pt x="1367" y="313"/>
                    <a:pt x="1374" y="325"/>
                    <a:pt x="1382" y="337"/>
                  </a:cubicBezTo>
                  <a:cubicBezTo>
                    <a:pt x="1392" y="353"/>
                    <a:pt x="1400" y="374"/>
                    <a:pt x="1415" y="387"/>
                  </a:cubicBezTo>
                  <a:cubicBezTo>
                    <a:pt x="1420" y="391"/>
                    <a:pt x="1425" y="393"/>
                    <a:pt x="1428" y="398"/>
                  </a:cubicBezTo>
                  <a:cubicBezTo>
                    <a:pt x="1428" y="397"/>
                    <a:pt x="1427" y="395"/>
                    <a:pt x="1429" y="395"/>
                  </a:cubicBezTo>
                  <a:cubicBezTo>
                    <a:pt x="1434" y="411"/>
                    <a:pt x="1448" y="418"/>
                    <a:pt x="1453" y="435"/>
                  </a:cubicBezTo>
                  <a:cubicBezTo>
                    <a:pt x="1455" y="427"/>
                    <a:pt x="1447" y="424"/>
                    <a:pt x="1450" y="419"/>
                  </a:cubicBezTo>
                  <a:cubicBezTo>
                    <a:pt x="1462" y="435"/>
                    <a:pt x="1475" y="456"/>
                    <a:pt x="1476" y="482"/>
                  </a:cubicBezTo>
                  <a:cubicBezTo>
                    <a:pt x="1476" y="486"/>
                    <a:pt x="1474" y="490"/>
                    <a:pt x="1474" y="494"/>
                  </a:cubicBezTo>
                  <a:cubicBezTo>
                    <a:pt x="1473" y="504"/>
                    <a:pt x="1477" y="514"/>
                    <a:pt x="1479" y="523"/>
                  </a:cubicBezTo>
                  <a:cubicBezTo>
                    <a:pt x="1482" y="541"/>
                    <a:pt x="1485" y="559"/>
                    <a:pt x="1496" y="570"/>
                  </a:cubicBezTo>
                  <a:cubicBezTo>
                    <a:pt x="1497" y="571"/>
                    <a:pt x="1497" y="575"/>
                    <a:pt x="1497" y="578"/>
                  </a:cubicBezTo>
                  <a:cubicBezTo>
                    <a:pt x="1502" y="582"/>
                    <a:pt x="1500" y="595"/>
                    <a:pt x="1506" y="598"/>
                  </a:cubicBezTo>
                  <a:cubicBezTo>
                    <a:pt x="1505" y="580"/>
                    <a:pt x="1505" y="567"/>
                    <a:pt x="1506" y="554"/>
                  </a:cubicBezTo>
                  <a:cubicBezTo>
                    <a:pt x="1506" y="555"/>
                    <a:pt x="1508" y="560"/>
                    <a:pt x="1509" y="558"/>
                  </a:cubicBezTo>
                  <a:cubicBezTo>
                    <a:pt x="1508" y="558"/>
                    <a:pt x="1508" y="552"/>
                    <a:pt x="1509" y="553"/>
                  </a:cubicBezTo>
                  <a:cubicBezTo>
                    <a:pt x="1511" y="566"/>
                    <a:pt x="1515" y="577"/>
                    <a:pt x="1517" y="590"/>
                  </a:cubicBezTo>
                  <a:cubicBezTo>
                    <a:pt x="1498" y="465"/>
                    <a:pt x="1438" y="357"/>
                    <a:pt x="1370" y="270"/>
                  </a:cubicBezTo>
                  <a:cubicBezTo>
                    <a:pt x="1305" y="186"/>
                    <a:pt x="1219" y="118"/>
                    <a:pt x="1125" y="70"/>
                  </a:cubicBezTo>
                  <a:cubicBezTo>
                    <a:pt x="1132" y="74"/>
                    <a:pt x="1141" y="77"/>
                    <a:pt x="1146" y="83"/>
                  </a:cubicBezTo>
                  <a:cubicBezTo>
                    <a:pt x="1144" y="83"/>
                    <a:pt x="1140" y="79"/>
                    <a:pt x="1139" y="80"/>
                  </a:cubicBezTo>
                  <a:close/>
                  <a:moveTo>
                    <a:pt x="1100" y="86"/>
                  </a:moveTo>
                  <a:cubicBezTo>
                    <a:pt x="1098" y="85"/>
                    <a:pt x="1094" y="81"/>
                    <a:pt x="1093" y="82"/>
                  </a:cubicBezTo>
                  <a:cubicBezTo>
                    <a:pt x="1095" y="83"/>
                    <a:pt x="1099" y="88"/>
                    <a:pt x="1100" y="86"/>
                  </a:cubicBezTo>
                  <a:close/>
                  <a:moveTo>
                    <a:pt x="1146" y="123"/>
                  </a:moveTo>
                  <a:cubicBezTo>
                    <a:pt x="1151" y="124"/>
                    <a:pt x="1155" y="129"/>
                    <a:pt x="1158" y="128"/>
                  </a:cubicBezTo>
                  <a:cubicBezTo>
                    <a:pt x="1155" y="126"/>
                    <a:pt x="1150" y="121"/>
                    <a:pt x="1146" y="123"/>
                  </a:cubicBezTo>
                  <a:close/>
                  <a:moveTo>
                    <a:pt x="89" y="417"/>
                  </a:moveTo>
                  <a:cubicBezTo>
                    <a:pt x="89" y="411"/>
                    <a:pt x="89" y="411"/>
                    <a:pt x="89" y="411"/>
                  </a:cubicBezTo>
                  <a:cubicBezTo>
                    <a:pt x="79" y="418"/>
                    <a:pt x="70" y="439"/>
                    <a:pt x="67" y="448"/>
                  </a:cubicBezTo>
                  <a:cubicBezTo>
                    <a:pt x="75" y="438"/>
                    <a:pt x="77" y="423"/>
                    <a:pt x="89" y="417"/>
                  </a:cubicBezTo>
                  <a:close/>
                  <a:moveTo>
                    <a:pt x="59" y="467"/>
                  </a:moveTo>
                  <a:cubicBezTo>
                    <a:pt x="60" y="465"/>
                    <a:pt x="64" y="457"/>
                    <a:pt x="64" y="453"/>
                  </a:cubicBezTo>
                  <a:cubicBezTo>
                    <a:pt x="62" y="457"/>
                    <a:pt x="60" y="461"/>
                    <a:pt x="59" y="465"/>
                  </a:cubicBezTo>
                  <a:cubicBezTo>
                    <a:pt x="60" y="462"/>
                    <a:pt x="55" y="474"/>
                    <a:pt x="59" y="467"/>
                  </a:cubicBezTo>
                  <a:close/>
                  <a:moveTo>
                    <a:pt x="1531" y="671"/>
                  </a:moveTo>
                  <a:cubicBezTo>
                    <a:pt x="1531" y="672"/>
                    <a:pt x="1530" y="671"/>
                    <a:pt x="1529" y="671"/>
                  </a:cubicBezTo>
                  <a:cubicBezTo>
                    <a:pt x="1528" y="680"/>
                    <a:pt x="1527" y="692"/>
                    <a:pt x="1524" y="700"/>
                  </a:cubicBezTo>
                  <a:cubicBezTo>
                    <a:pt x="1524" y="696"/>
                    <a:pt x="1522" y="700"/>
                    <a:pt x="1521" y="697"/>
                  </a:cubicBezTo>
                  <a:cubicBezTo>
                    <a:pt x="1520" y="702"/>
                    <a:pt x="1520" y="710"/>
                    <a:pt x="1517" y="715"/>
                  </a:cubicBezTo>
                  <a:cubicBezTo>
                    <a:pt x="1517" y="713"/>
                    <a:pt x="1516" y="712"/>
                    <a:pt x="1515" y="712"/>
                  </a:cubicBezTo>
                  <a:cubicBezTo>
                    <a:pt x="1514" y="719"/>
                    <a:pt x="1519" y="731"/>
                    <a:pt x="1512" y="730"/>
                  </a:cubicBezTo>
                  <a:cubicBezTo>
                    <a:pt x="1510" y="733"/>
                    <a:pt x="1513" y="739"/>
                    <a:pt x="1509" y="740"/>
                  </a:cubicBezTo>
                  <a:cubicBezTo>
                    <a:pt x="1508" y="737"/>
                    <a:pt x="1509" y="732"/>
                    <a:pt x="1507" y="729"/>
                  </a:cubicBezTo>
                  <a:cubicBezTo>
                    <a:pt x="1502" y="732"/>
                    <a:pt x="1502" y="740"/>
                    <a:pt x="1502" y="748"/>
                  </a:cubicBezTo>
                  <a:cubicBezTo>
                    <a:pt x="1503" y="751"/>
                    <a:pt x="1505" y="745"/>
                    <a:pt x="1505" y="748"/>
                  </a:cubicBezTo>
                  <a:cubicBezTo>
                    <a:pt x="1504" y="761"/>
                    <a:pt x="1502" y="773"/>
                    <a:pt x="1502" y="787"/>
                  </a:cubicBezTo>
                  <a:cubicBezTo>
                    <a:pt x="1499" y="785"/>
                    <a:pt x="1493" y="786"/>
                    <a:pt x="1491" y="783"/>
                  </a:cubicBezTo>
                  <a:cubicBezTo>
                    <a:pt x="1490" y="785"/>
                    <a:pt x="1489" y="788"/>
                    <a:pt x="1486" y="789"/>
                  </a:cubicBezTo>
                  <a:cubicBezTo>
                    <a:pt x="1485" y="787"/>
                    <a:pt x="1481" y="786"/>
                    <a:pt x="1479" y="785"/>
                  </a:cubicBezTo>
                  <a:cubicBezTo>
                    <a:pt x="1479" y="781"/>
                    <a:pt x="1478" y="779"/>
                    <a:pt x="1477" y="777"/>
                  </a:cubicBezTo>
                  <a:cubicBezTo>
                    <a:pt x="1473" y="777"/>
                    <a:pt x="1475" y="781"/>
                    <a:pt x="1472" y="781"/>
                  </a:cubicBezTo>
                  <a:cubicBezTo>
                    <a:pt x="1471" y="779"/>
                    <a:pt x="1469" y="779"/>
                    <a:pt x="1467" y="778"/>
                  </a:cubicBezTo>
                  <a:cubicBezTo>
                    <a:pt x="1464" y="781"/>
                    <a:pt x="1467" y="791"/>
                    <a:pt x="1462" y="793"/>
                  </a:cubicBezTo>
                  <a:cubicBezTo>
                    <a:pt x="1462" y="790"/>
                    <a:pt x="1463" y="787"/>
                    <a:pt x="1461" y="786"/>
                  </a:cubicBezTo>
                  <a:cubicBezTo>
                    <a:pt x="1457" y="785"/>
                    <a:pt x="1457" y="786"/>
                    <a:pt x="1455" y="788"/>
                  </a:cubicBezTo>
                  <a:cubicBezTo>
                    <a:pt x="1454" y="786"/>
                    <a:pt x="1453" y="785"/>
                    <a:pt x="1451" y="784"/>
                  </a:cubicBezTo>
                  <a:cubicBezTo>
                    <a:pt x="1449" y="788"/>
                    <a:pt x="1449" y="791"/>
                    <a:pt x="1450" y="795"/>
                  </a:cubicBezTo>
                  <a:cubicBezTo>
                    <a:pt x="1453" y="797"/>
                    <a:pt x="1453" y="790"/>
                    <a:pt x="1455" y="793"/>
                  </a:cubicBezTo>
                  <a:cubicBezTo>
                    <a:pt x="1455" y="797"/>
                    <a:pt x="1453" y="798"/>
                    <a:pt x="1453" y="801"/>
                  </a:cubicBezTo>
                  <a:cubicBezTo>
                    <a:pt x="1457" y="808"/>
                    <a:pt x="1458" y="802"/>
                    <a:pt x="1464" y="800"/>
                  </a:cubicBezTo>
                  <a:cubicBezTo>
                    <a:pt x="1467" y="803"/>
                    <a:pt x="1469" y="805"/>
                    <a:pt x="1474" y="805"/>
                  </a:cubicBezTo>
                  <a:cubicBezTo>
                    <a:pt x="1477" y="804"/>
                    <a:pt x="1477" y="801"/>
                    <a:pt x="1479" y="799"/>
                  </a:cubicBezTo>
                  <a:cubicBezTo>
                    <a:pt x="1481" y="802"/>
                    <a:pt x="1485" y="803"/>
                    <a:pt x="1487" y="805"/>
                  </a:cubicBezTo>
                  <a:cubicBezTo>
                    <a:pt x="1490" y="805"/>
                    <a:pt x="1491" y="803"/>
                    <a:pt x="1494" y="803"/>
                  </a:cubicBezTo>
                  <a:cubicBezTo>
                    <a:pt x="1497" y="803"/>
                    <a:pt x="1495" y="808"/>
                    <a:pt x="1498" y="808"/>
                  </a:cubicBezTo>
                  <a:cubicBezTo>
                    <a:pt x="1499" y="805"/>
                    <a:pt x="1498" y="800"/>
                    <a:pt x="1503" y="804"/>
                  </a:cubicBezTo>
                  <a:cubicBezTo>
                    <a:pt x="1502" y="800"/>
                    <a:pt x="1500" y="792"/>
                    <a:pt x="1503" y="789"/>
                  </a:cubicBezTo>
                  <a:cubicBezTo>
                    <a:pt x="1504" y="793"/>
                    <a:pt x="1506" y="790"/>
                    <a:pt x="1507" y="794"/>
                  </a:cubicBezTo>
                  <a:cubicBezTo>
                    <a:pt x="1525" y="763"/>
                    <a:pt x="1533" y="714"/>
                    <a:pt x="1531" y="671"/>
                  </a:cubicBezTo>
                  <a:close/>
                  <a:moveTo>
                    <a:pt x="385" y="1396"/>
                  </a:moveTo>
                  <a:cubicBezTo>
                    <a:pt x="383" y="1394"/>
                    <a:pt x="383" y="1391"/>
                    <a:pt x="382" y="1389"/>
                  </a:cubicBezTo>
                  <a:cubicBezTo>
                    <a:pt x="380" y="1389"/>
                    <a:pt x="377" y="1393"/>
                    <a:pt x="375" y="1389"/>
                  </a:cubicBezTo>
                  <a:cubicBezTo>
                    <a:pt x="377" y="1388"/>
                    <a:pt x="380" y="1390"/>
                    <a:pt x="380" y="1388"/>
                  </a:cubicBezTo>
                  <a:cubicBezTo>
                    <a:pt x="377" y="1386"/>
                    <a:pt x="375" y="1382"/>
                    <a:pt x="370" y="1382"/>
                  </a:cubicBezTo>
                  <a:cubicBezTo>
                    <a:pt x="371" y="1386"/>
                    <a:pt x="370" y="1385"/>
                    <a:pt x="367" y="1384"/>
                  </a:cubicBezTo>
                  <a:cubicBezTo>
                    <a:pt x="377" y="1394"/>
                    <a:pt x="389" y="1401"/>
                    <a:pt x="401" y="1409"/>
                  </a:cubicBezTo>
                  <a:cubicBezTo>
                    <a:pt x="400" y="1406"/>
                    <a:pt x="405" y="1408"/>
                    <a:pt x="404" y="1406"/>
                  </a:cubicBezTo>
                  <a:cubicBezTo>
                    <a:pt x="397" y="1404"/>
                    <a:pt x="388" y="1389"/>
                    <a:pt x="385" y="1396"/>
                  </a:cubicBezTo>
                  <a:close/>
                </a:path>
              </a:pathLst>
            </a:custGeom>
            <a:solidFill>
              <a:srgbClr val="D8D8D8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pic>
          <p:nvPicPr>
            <p:cNvPr id="13" name="Picture 7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998913" y="2727325"/>
              <a:ext cx="3213100" cy="358616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</p:pic>
        <p:sp>
          <p:nvSpPr>
            <p:cNvPr id="14" name="Freeform 8"/>
            <p:cNvSpPr>
              <a:spLocks noEditPoints="1"/>
            </p:cNvSpPr>
            <p:nvPr>
              <p:custDataLst>
                <p:tags r:id="rId10"/>
              </p:custDataLst>
            </p:nvPr>
          </p:nvSpPr>
          <p:spPr bwMode="auto">
            <a:xfrm>
              <a:off x="2212975" y="1484313"/>
              <a:ext cx="4748213" cy="4760912"/>
            </a:xfrm>
            <a:custGeom>
              <a:avLst/>
              <a:gdLst/>
              <a:ahLst/>
              <a:cxnLst>
                <a:cxn ang="0">
                  <a:pos x="43" y="519"/>
                </a:cxn>
                <a:cxn ang="0">
                  <a:pos x="688" y="16"/>
                </a:cxn>
                <a:cxn ang="0">
                  <a:pos x="710" y="20"/>
                </a:cxn>
                <a:cxn ang="0">
                  <a:pos x="799" y="22"/>
                </a:cxn>
                <a:cxn ang="0">
                  <a:pos x="581" y="42"/>
                </a:cxn>
                <a:cxn ang="0">
                  <a:pos x="530" y="61"/>
                </a:cxn>
                <a:cxn ang="0">
                  <a:pos x="991" y="49"/>
                </a:cxn>
                <a:cxn ang="0">
                  <a:pos x="372" y="115"/>
                </a:cxn>
                <a:cxn ang="0">
                  <a:pos x="428" y="107"/>
                </a:cxn>
                <a:cxn ang="0">
                  <a:pos x="818" y="92"/>
                </a:cxn>
                <a:cxn ang="0">
                  <a:pos x="1055" y="192"/>
                </a:cxn>
                <a:cxn ang="0">
                  <a:pos x="825" y="120"/>
                </a:cxn>
                <a:cxn ang="0">
                  <a:pos x="386" y="131"/>
                </a:cxn>
                <a:cxn ang="0">
                  <a:pos x="360" y="122"/>
                </a:cxn>
                <a:cxn ang="0">
                  <a:pos x="307" y="157"/>
                </a:cxn>
                <a:cxn ang="0">
                  <a:pos x="1281" y="215"/>
                </a:cxn>
                <a:cxn ang="0">
                  <a:pos x="262" y="197"/>
                </a:cxn>
                <a:cxn ang="0">
                  <a:pos x="342" y="207"/>
                </a:cxn>
                <a:cxn ang="0">
                  <a:pos x="515" y="222"/>
                </a:cxn>
                <a:cxn ang="0">
                  <a:pos x="1092" y="232"/>
                </a:cxn>
                <a:cxn ang="0">
                  <a:pos x="1054" y="395"/>
                </a:cxn>
                <a:cxn ang="0">
                  <a:pos x="286" y="259"/>
                </a:cxn>
                <a:cxn ang="0">
                  <a:pos x="422" y="400"/>
                </a:cxn>
                <a:cxn ang="0">
                  <a:pos x="139" y="360"/>
                </a:cxn>
                <a:cxn ang="0">
                  <a:pos x="735" y="383"/>
                </a:cxn>
                <a:cxn ang="0">
                  <a:pos x="401" y="453"/>
                </a:cxn>
                <a:cxn ang="0">
                  <a:pos x="1275" y="515"/>
                </a:cxn>
                <a:cxn ang="0">
                  <a:pos x="965" y="472"/>
                </a:cxn>
                <a:cxn ang="0">
                  <a:pos x="1457" y="507"/>
                </a:cxn>
                <a:cxn ang="0">
                  <a:pos x="1123" y="716"/>
                </a:cxn>
                <a:cxn ang="0">
                  <a:pos x="1284" y="635"/>
                </a:cxn>
                <a:cxn ang="0">
                  <a:pos x="109" y="683"/>
                </a:cxn>
                <a:cxn ang="0">
                  <a:pos x="320" y="836"/>
                </a:cxn>
                <a:cxn ang="0">
                  <a:pos x="942" y="737"/>
                </a:cxn>
                <a:cxn ang="0">
                  <a:pos x="1520" y="791"/>
                </a:cxn>
                <a:cxn ang="0">
                  <a:pos x="1506" y="837"/>
                </a:cxn>
                <a:cxn ang="0">
                  <a:pos x="1392" y="910"/>
                </a:cxn>
                <a:cxn ang="0">
                  <a:pos x="1322" y="936"/>
                </a:cxn>
                <a:cxn ang="0">
                  <a:pos x="497" y="992"/>
                </a:cxn>
                <a:cxn ang="0">
                  <a:pos x="637" y="1004"/>
                </a:cxn>
                <a:cxn ang="0">
                  <a:pos x="75" y="1026"/>
                </a:cxn>
                <a:cxn ang="0">
                  <a:pos x="155" y="1216"/>
                </a:cxn>
                <a:cxn ang="0">
                  <a:pos x="1376" y="1175"/>
                </a:cxn>
                <a:cxn ang="0">
                  <a:pos x="187" y="1148"/>
                </a:cxn>
                <a:cxn ang="0">
                  <a:pos x="163" y="1223"/>
                </a:cxn>
                <a:cxn ang="0">
                  <a:pos x="363" y="1201"/>
                </a:cxn>
                <a:cxn ang="0">
                  <a:pos x="535" y="1295"/>
                </a:cxn>
                <a:cxn ang="0">
                  <a:pos x="170" y="1239"/>
                </a:cxn>
                <a:cxn ang="0">
                  <a:pos x="195" y="1266"/>
                </a:cxn>
                <a:cxn ang="0">
                  <a:pos x="224" y="1300"/>
                </a:cxn>
                <a:cxn ang="0">
                  <a:pos x="309" y="1356"/>
                </a:cxn>
                <a:cxn ang="0">
                  <a:pos x="1151" y="1402"/>
                </a:cxn>
                <a:cxn ang="0">
                  <a:pos x="618" y="1375"/>
                </a:cxn>
                <a:cxn ang="0">
                  <a:pos x="956" y="1397"/>
                </a:cxn>
                <a:cxn ang="0">
                  <a:pos x="1038" y="1391"/>
                </a:cxn>
                <a:cxn ang="0">
                  <a:pos x="697" y="1413"/>
                </a:cxn>
                <a:cxn ang="0">
                  <a:pos x="987" y="1439"/>
                </a:cxn>
                <a:cxn ang="0">
                  <a:pos x="513" y="1480"/>
                </a:cxn>
                <a:cxn ang="0">
                  <a:pos x="749" y="1462"/>
                </a:cxn>
                <a:cxn ang="0">
                  <a:pos x="975" y="1464"/>
                </a:cxn>
                <a:cxn ang="0">
                  <a:pos x="782" y="1475"/>
                </a:cxn>
                <a:cxn ang="0">
                  <a:pos x="738" y="1484"/>
                </a:cxn>
                <a:cxn ang="0">
                  <a:pos x="845" y="1510"/>
                </a:cxn>
              </a:cxnLst>
              <a:rect l="0" t="0" r="r" b="b"/>
              <a:pathLst>
                <a:path w="1525" h="1529">
                  <a:moveTo>
                    <a:pt x="760" y="11"/>
                  </a:moveTo>
                  <a:cubicBezTo>
                    <a:pt x="764" y="10"/>
                    <a:pt x="762" y="3"/>
                    <a:pt x="767" y="3"/>
                  </a:cubicBezTo>
                  <a:cubicBezTo>
                    <a:pt x="772" y="2"/>
                    <a:pt x="769" y="11"/>
                    <a:pt x="774" y="8"/>
                  </a:cubicBezTo>
                  <a:cubicBezTo>
                    <a:pt x="798" y="0"/>
                    <a:pt x="832" y="6"/>
                    <a:pt x="860" y="10"/>
                  </a:cubicBezTo>
                  <a:cubicBezTo>
                    <a:pt x="920" y="18"/>
                    <a:pt x="979" y="31"/>
                    <a:pt x="1027" y="50"/>
                  </a:cubicBezTo>
                  <a:cubicBezTo>
                    <a:pt x="1077" y="70"/>
                    <a:pt x="1124" y="92"/>
                    <a:pt x="1166" y="119"/>
                  </a:cubicBezTo>
                  <a:cubicBezTo>
                    <a:pt x="1181" y="129"/>
                    <a:pt x="1197" y="136"/>
                    <a:pt x="1209" y="145"/>
                  </a:cubicBezTo>
                  <a:cubicBezTo>
                    <a:pt x="1217" y="151"/>
                    <a:pt x="1224" y="160"/>
                    <a:pt x="1232" y="167"/>
                  </a:cubicBezTo>
                  <a:cubicBezTo>
                    <a:pt x="1281" y="205"/>
                    <a:pt x="1322" y="252"/>
                    <a:pt x="1362" y="301"/>
                  </a:cubicBezTo>
                  <a:cubicBezTo>
                    <a:pt x="1369" y="310"/>
                    <a:pt x="1378" y="316"/>
                    <a:pt x="1383" y="323"/>
                  </a:cubicBezTo>
                  <a:cubicBezTo>
                    <a:pt x="1388" y="331"/>
                    <a:pt x="1392" y="340"/>
                    <a:pt x="1398" y="348"/>
                  </a:cubicBezTo>
                  <a:cubicBezTo>
                    <a:pt x="1468" y="449"/>
                    <a:pt x="1525" y="587"/>
                    <a:pt x="1522" y="761"/>
                  </a:cubicBezTo>
                  <a:cubicBezTo>
                    <a:pt x="1522" y="773"/>
                    <a:pt x="1525" y="784"/>
                    <a:pt x="1524" y="795"/>
                  </a:cubicBezTo>
                  <a:cubicBezTo>
                    <a:pt x="1524" y="805"/>
                    <a:pt x="1520" y="815"/>
                    <a:pt x="1518" y="826"/>
                  </a:cubicBezTo>
                  <a:cubicBezTo>
                    <a:pt x="1515" y="857"/>
                    <a:pt x="1508" y="890"/>
                    <a:pt x="1502" y="919"/>
                  </a:cubicBezTo>
                  <a:cubicBezTo>
                    <a:pt x="1495" y="950"/>
                    <a:pt x="1489" y="979"/>
                    <a:pt x="1481" y="1007"/>
                  </a:cubicBezTo>
                  <a:cubicBezTo>
                    <a:pt x="1478" y="1017"/>
                    <a:pt x="1477" y="1028"/>
                    <a:pt x="1474" y="1037"/>
                  </a:cubicBezTo>
                  <a:cubicBezTo>
                    <a:pt x="1472" y="1045"/>
                    <a:pt x="1468" y="1051"/>
                    <a:pt x="1465" y="1058"/>
                  </a:cubicBezTo>
                  <a:cubicBezTo>
                    <a:pt x="1455" y="1079"/>
                    <a:pt x="1446" y="1102"/>
                    <a:pt x="1436" y="1122"/>
                  </a:cubicBezTo>
                  <a:cubicBezTo>
                    <a:pt x="1414" y="1164"/>
                    <a:pt x="1392" y="1199"/>
                    <a:pt x="1364" y="1233"/>
                  </a:cubicBezTo>
                  <a:cubicBezTo>
                    <a:pt x="1355" y="1245"/>
                    <a:pt x="1347" y="1257"/>
                    <a:pt x="1337" y="1268"/>
                  </a:cubicBezTo>
                  <a:cubicBezTo>
                    <a:pt x="1318" y="1289"/>
                    <a:pt x="1295" y="1305"/>
                    <a:pt x="1274" y="1326"/>
                  </a:cubicBezTo>
                  <a:cubicBezTo>
                    <a:pt x="1232" y="1368"/>
                    <a:pt x="1185" y="1404"/>
                    <a:pt x="1136" y="1434"/>
                  </a:cubicBezTo>
                  <a:cubicBezTo>
                    <a:pt x="1110" y="1450"/>
                    <a:pt x="1082" y="1460"/>
                    <a:pt x="1052" y="1471"/>
                  </a:cubicBezTo>
                  <a:cubicBezTo>
                    <a:pt x="1037" y="1477"/>
                    <a:pt x="1023" y="1484"/>
                    <a:pt x="1008" y="1488"/>
                  </a:cubicBezTo>
                  <a:cubicBezTo>
                    <a:pt x="992" y="1493"/>
                    <a:pt x="976" y="1494"/>
                    <a:pt x="958" y="1499"/>
                  </a:cubicBezTo>
                  <a:cubicBezTo>
                    <a:pt x="948" y="1502"/>
                    <a:pt x="940" y="1508"/>
                    <a:pt x="930" y="1511"/>
                  </a:cubicBezTo>
                  <a:cubicBezTo>
                    <a:pt x="904" y="1518"/>
                    <a:pt x="872" y="1514"/>
                    <a:pt x="846" y="1522"/>
                  </a:cubicBezTo>
                  <a:cubicBezTo>
                    <a:pt x="840" y="1524"/>
                    <a:pt x="835" y="1527"/>
                    <a:pt x="828" y="1528"/>
                  </a:cubicBezTo>
                  <a:cubicBezTo>
                    <a:pt x="823" y="1528"/>
                    <a:pt x="818" y="1526"/>
                    <a:pt x="813" y="1526"/>
                  </a:cubicBezTo>
                  <a:cubicBezTo>
                    <a:pt x="796" y="1525"/>
                    <a:pt x="777" y="1527"/>
                    <a:pt x="758" y="1528"/>
                  </a:cubicBezTo>
                  <a:cubicBezTo>
                    <a:pt x="735" y="1529"/>
                    <a:pt x="713" y="1524"/>
                    <a:pt x="691" y="1523"/>
                  </a:cubicBezTo>
                  <a:cubicBezTo>
                    <a:pt x="683" y="1523"/>
                    <a:pt x="676" y="1525"/>
                    <a:pt x="669" y="1524"/>
                  </a:cubicBezTo>
                  <a:cubicBezTo>
                    <a:pt x="656" y="1523"/>
                    <a:pt x="646" y="1514"/>
                    <a:pt x="635" y="1512"/>
                  </a:cubicBezTo>
                  <a:cubicBezTo>
                    <a:pt x="620" y="1510"/>
                    <a:pt x="607" y="1512"/>
                    <a:pt x="594" y="1511"/>
                  </a:cubicBezTo>
                  <a:cubicBezTo>
                    <a:pt x="571" y="1507"/>
                    <a:pt x="551" y="1496"/>
                    <a:pt x="531" y="1489"/>
                  </a:cubicBezTo>
                  <a:cubicBezTo>
                    <a:pt x="520" y="1486"/>
                    <a:pt x="508" y="1484"/>
                    <a:pt x="497" y="1481"/>
                  </a:cubicBezTo>
                  <a:cubicBezTo>
                    <a:pt x="454" y="1468"/>
                    <a:pt x="414" y="1451"/>
                    <a:pt x="380" y="1429"/>
                  </a:cubicBezTo>
                  <a:cubicBezTo>
                    <a:pt x="363" y="1418"/>
                    <a:pt x="347" y="1404"/>
                    <a:pt x="330" y="1393"/>
                  </a:cubicBezTo>
                  <a:cubicBezTo>
                    <a:pt x="287" y="1366"/>
                    <a:pt x="251" y="1334"/>
                    <a:pt x="216" y="1296"/>
                  </a:cubicBezTo>
                  <a:cubicBezTo>
                    <a:pt x="202" y="1282"/>
                    <a:pt x="187" y="1270"/>
                    <a:pt x="174" y="1252"/>
                  </a:cubicBezTo>
                  <a:cubicBezTo>
                    <a:pt x="169" y="1244"/>
                    <a:pt x="165" y="1234"/>
                    <a:pt x="159" y="1225"/>
                  </a:cubicBezTo>
                  <a:cubicBezTo>
                    <a:pt x="147" y="1209"/>
                    <a:pt x="133" y="1193"/>
                    <a:pt x="123" y="1177"/>
                  </a:cubicBezTo>
                  <a:cubicBezTo>
                    <a:pt x="60" y="1083"/>
                    <a:pt x="16" y="977"/>
                    <a:pt x="6" y="830"/>
                  </a:cubicBezTo>
                  <a:cubicBezTo>
                    <a:pt x="5" y="816"/>
                    <a:pt x="0" y="804"/>
                    <a:pt x="0" y="791"/>
                  </a:cubicBezTo>
                  <a:cubicBezTo>
                    <a:pt x="0" y="782"/>
                    <a:pt x="4" y="772"/>
                    <a:pt x="5" y="762"/>
                  </a:cubicBezTo>
                  <a:cubicBezTo>
                    <a:pt x="11" y="698"/>
                    <a:pt x="14" y="634"/>
                    <a:pt x="27" y="577"/>
                  </a:cubicBezTo>
                  <a:cubicBezTo>
                    <a:pt x="29" y="567"/>
                    <a:pt x="29" y="558"/>
                    <a:pt x="31" y="549"/>
                  </a:cubicBezTo>
                  <a:cubicBezTo>
                    <a:pt x="34" y="539"/>
                    <a:pt x="40" y="529"/>
                    <a:pt x="43" y="519"/>
                  </a:cubicBezTo>
                  <a:cubicBezTo>
                    <a:pt x="65" y="448"/>
                    <a:pt x="100" y="386"/>
                    <a:pt x="137" y="330"/>
                  </a:cubicBezTo>
                  <a:cubicBezTo>
                    <a:pt x="170" y="280"/>
                    <a:pt x="209" y="240"/>
                    <a:pt x="252" y="202"/>
                  </a:cubicBezTo>
                  <a:cubicBezTo>
                    <a:pt x="266" y="190"/>
                    <a:pt x="282" y="179"/>
                    <a:pt x="296" y="166"/>
                  </a:cubicBezTo>
                  <a:cubicBezTo>
                    <a:pt x="303" y="159"/>
                    <a:pt x="307" y="151"/>
                    <a:pt x="315" y="145"/>
                  </a:cubicBezTo>
                  <a:cubicBezTo>
                    <a:pt x="323" y="139"/>
                    <a:pt x="332" y="137"/>
                    <a:pt x="341" y="132"/>
                  </a:cubicBezTo>
                  <a:cubicBezTo>
                    <a:pt x="354" y="124"/>
                    <a:pt x="367" y="114"/>
                    <a:pt x="380" y="106"/>
                  </a:cubicBezTo>
                  <a:cubicBezTo>
                    <a:pt x="419" y="82"/>
                    <a:pt x="466" y="61"/>
                    <a:pt x="514" y="46"/>
                  </a:cubicBezTo>
                  <a:cubicBezTo>
                    <a:pt x="531" y="40"/>
                    <a:pt x="546" y="33"/>
                    <a:pt x="563" y="29"/>
                  </a:cubicBezTo>
                  <a:cubicBezTo>
                    <a:pt x="605" y="19"/>
                    <a:pt x="652" y="8"/>
                    <a:pt x="702" y="5"/>
                  </a:cubicBezTo>
                  <a:cubicBezTo>
                    <a:pt x="711" y="5"/>
                    <a:pt x="721" y="5"/>
                    <a:pt x="731" y="3"/>
                  </a:cubicBezTo>
                  <a:cubicBezTo>
                    <a:pt x="741" y="1"/>
                    <a:pt x="752" y="5"/>
                    <a:pt x="760" y="11"/>
                  </a:cubicBezTo>
                  <a:close/>
                  <a:moveTo>
                    <a:pt x="765" y="11"/>
                  </a:moveTo>
                  <a:cubicBezTo>
                    <a:pt x="767" y="11"/>
                    <a:pt x="769" y="11"/>
                    <a:pt x="770" y="9"/>
                  </a:cubicBezTo>
                  <a:cubicBezTo>
                    <a:pt x="768" y="9"/>
                    <a:pt x="769" y="6"/>
                    <a:pt x="767" y="5"/>
                  </a:cubicBezTo>
                  <a:cubicBezTo>
                    <a:pt x="766" y="7"/>
                    <a:pt x="764" y="8"/>
                    <a:pt x="765" y="11"/>
                  </a:cubicBezTo>
                  <a:close/>
                  <a:moveTo>
                    <a:pt x="737" y="6"/>
                  </a:moveTo>
                  <a:cubicBezTo>
                    <a:pt x="736" y="6"/>
                    <a:pt x="735" y="6"/>
                    <a:pt x="735" y="7"/>
                  </a:cubicBezTo>
                  <a:cubicBezTo>
                    <a:pt x="736" y="7"/>
                    <a:pt x="737" y="7"/>
                    <a:pt x="737" y="6"/>
                  </a:cubicBezTo>
                  <a:close/>
                  <a:moveTo>
                    <a:pt x="800" y="6"/>
                  </a:moveTo>
                  <a:cubicBezTo>
                    <a:pt x="790" y="5"/>
                    <a:pt x="794" y="9"/>
                    <a:pt x="800" y="6"/>
                  </a:cubicBezTo>
                  <a:close/>
                  <a:moveTo>
                    <a:pt x="744" y="7"/>
                  </a:moveTo>
                  <a:cubicBezTo>
                    <a:pt x="742" y="8"/>
                    <a:pt x="738" y="6"/>
                    <a:pt x="738" y="8"/>
                  </a:cubicBezTo>
                  <a:cubicBezTo>
                    <a:pt x="740" y="8"/>
                    <a:pt x="744" y="9"/>
                    <a:pt x="744" y="7"/>
                  </a:cubicBezTo>
                  <a:close/>
                  <a:moveTo>
                    <a:pt x="792" y="7"/>
                  </a:moveTo>
                  <a:cubicBezTo>
                    <a:pt x="790" y="8"/>
                    <a:pt x="785" y="6"/>
                    <a:pt x="785" y="8"/>
                  </a:cubicBezTo>
                  <a:cubicBezTo>
                    <a:pt x="787" y="8"/>
                    <a:pt x="791" y="9"/>
                    <a:pt x="792" y="7"/>
                  </a:cubicBezTo>
                  <a:close/>
                  <a:moveTo>
                    <a:pt x="727" y="8"/>
                  </a:moveTo>
                  <a:cubicBezTo>
                    <a:pt x="726" y="8"/>
                    <a:pt x="725" y="8"/>
                    <a:pt x="725" y="9"/>
                  </a:cubicBezTo>
                  <a:cubicBezTo>
                    <a:pt x="726" y="9"/>
                    <a:pt x="727" y="9"/>
                    <a:pt x="727" y="8"/>
                  </a:cubicBezTo>
                  <a:close/>
                  <a:moveTo>
                    <a:pt x="747" y="8"/>
                  </a:moveTo>
                  <a:cubicBezTo>
                    <a:pt x="746" y="8"/>
                    <a:pt x="745" y="8"/>
                    <a:pt x="745" y="9"/>
                  </a:cubicBezTo>
                  <a:cubicBezTo>
                    <a:pt x="745" y="9"/>
                    <a:pt x="747" y="9"/>
                    <a:pt x="747" y="8"/>
                  </a:cubicBezTo>
                  <a:close/>
                  <a:moveTo>
                    <a:pt x="784" y="8"/>
                  </a:moveTo>
                  <a:cubicBezTo>
                    <a:pt x="783" y="8"/>
                    <a:pt x="781" y="8"/>
                    <a:pt x="781" y="9"/>
                  </a:cubicBezTo>
                  <a:cubicBezTo>
                    <a:pt x="782" y="9"/>
                    <a:pt x="784" y="9"/>
                    <a:pt x="784" y="8"/>
                  </a:cubicBezTo>
                  <a:close/>
                  <a:moveTo>
                    <a:pt x="748" y="10"/>
                  </a:moveTo>
                  <a:cubicBezTo>
                    <a:pt x="747" y="10"/>
                    <a:pt x="748" y="11"/>
                    <a:pt x="748" y="10"/>
                  </a:cubicBezTo>
                  <a:close/>
                  <a:moveTo>
                    <a:pt x="778" y="10"/>
                  </a:moveTo>
                  <a:cubicBezTo>
                    <a:pt x="778" y="10"/>
                    <a:pt x="779" y="11"/>
                    <a:pt x="778" y="10"/>
                  </a:cubicBezTo>
                  <a:close/>
                  <a:moveTo>
                    <a:pt x="688" y="10"/>
                  </a:moveTo>
                  <a:cubicBezTo>
                    <a:pt x="686" y="11"/>
                    <a:pt x="682" y="9"/>
                    <a:pt x="682" y="11"/>
                  </a:cubicBezTo>
                  <a:cubicBezTo>
                    <a:pt x="684" y="10"/>
                    <a:pt x="688" y="12"/>
                    <a:pt x="688" y="10"/>
                  </a:cubicBezTo>
                  <a:close/>
                  <a:moveTo>
                    <a:pt x="841" y="11"/>
                  </a:moveTo>
                  <a:cubicBezTo>
                    <a:pt x="836" y="10"/>
                    <a:pt x="840" y="14"/>
                    <a:pt x="841" y="11"/>
                  </a:cubicBezTo>
                  <a:close/>
                  <a:moveTo>
                    <a:pt x="857" y="12"/>
                  </a:moveTo>
                  <a:cubicBezTo>
                    <a:pt x="856" y="12"/>
                    <a:pt x="854" y="12"/>
                    <a:pt x="854" y="13"/>
                  </a:cubicBezTo>
                  <a:cubicBezTo>
                    <a:pt x="855" y="13"/>
                    <a:pt x="857" y="13"/>
                    <a:pt x="857" y="12"/>
                  </a:cubicBezTo>
                  <a:close/>
                  <a:moveTo>
                    <a:pt x="688" y="16"/>
                  </a:moveTo>
                  <a:cubicBezTo>
                    <a:pt x="680" y="15"/>
                    <a:pt x="684" y="19"/>
                    <a:pt x="688" y="16"/>
                  </a:cubicBezTo>
                  <a:close/>
                  <a:moveTo>
                    <a:pt x="678" y="17"/>
                  </a:moveTo>
                  <a:cubicBezTo>
                    <a:pt x="676" y="17"/>
                    <a:pt x="671" y="16"/>
                    <a:pt x="671" y="18"/>
                  </a:cubicBezTo>
                  <a:cubicBezTo>
                    <a:pt x="673" y="17"/>
                    <a:pt x="677" y="19"/>
                    <a:pt x="678" y="17"/>
                  </a:cubicBezTo>
                  <a:close/>
                  <a:moveTo>
                    <a:pt x="842" y="17"/>
                  </a:moveTo>
                  <a:cubicBezTo>
                    <a:pt x="836" y="16"/>
                    <a:pt x="840" y="20"/>
                    <a:pt x="842" y="17"/>
                  </a:cubicBezTo>
                  <a:close/>
                  <a:moveTo>
                    <a:pt x="664" y="19"/>
                  </a:moveTo>
                  <a:cubicBezTo>
                    <a:pt x="674" y="17"/>
                    <a:pt x="664" y="18"/>
                    <a:pt x="658" y="19"/>
                  </a:cubicBezTo>
                  <a:cubicBezTo>
                    <a:pt x="655" y="19"/>
                    <a:pt x="652" y="18"/>
                    <a:pt x="651" y="21"/>
                  </a:cubicBezTo>
                  <a:cubicBezTo>
                    <a:pt x="656" y="20"/>
                    <a:pt x="660" y="19"/>
                    <a:pt x="664" y="19"/>
                  </a:cubicBezTo>
                  <a:close/>
                  <a:moveTo>
                    <a:pt x="700" y="19"/>
                  </a:moveTo>
                  <a:cubicBezTo>
                    <a:pt x="699" y="18"/>
                    <a:pt x="700" y="19"/>
                    <a:pt x="700" y="19"/>
                  </a:cubicBezTo>
                  <a:close/>
                  <a:moveTo>
                    <a:pt x="698" y="81"/>
                  </a:moveTo>
                  <a:cubicBezTo>
                    <a:pt x="716" y="81"/>
                    <a:pt x="734" y="81"/>
                    <a:pt x="751" y="81"/>
                  </a:cubicBezTo>
                  <a:cubicBezTo>
                    <a:pt x="753" y="60"/>
                    <a:pt x="757" y="36"/>
                    <a:pt x="759" y="18"/>
                  </a:cubicBezTo>
                  <a:cubicBezTo>
                    <a:pt x="733" y="34"/>
                    <a:pt x="714" y="56"/>
                    <a:pt x="698" y="81"/>
                  </a:cubicBezTo>
                  <a:close/>
                  <a:moveTo>
                    <a:pt x="852" y="19"/>
                  </a:moveTo>
                  <a:cubicBezTo>
                    <a:pt x="852" y="19"/>
                    <a:pt x="852" y="19"/>
                    <a:pt x="852" y="20"/>
                  </a:cubicBezTo>
                  <a:cubicBezTo>
                    <a:pt x="870" y="21"/>
                    <a:pt x="885" y="24"/>
                    <a:pt x="901" y="26"/>
                  </a:cubicBezTo>
                  <a:moveTo>
                    <a:pt x="901" y="26"/>
                  </a:moveTo>
                  <a:cubicBezTo>
                    <a:pt x="902" y="29"/>
                    <a:pt x="906" y="25"/>
                    <a:pt x="901" y="26"/>
                  </a:cubicBezTo>
                  <a:moveTo>
                    <a:pt x="901" y="26"/>
                  </a:moveTo>
                  <a:cubicBezTo>
                    <a:pt x="901" y="26"/>
                    <a:pt x="901" y="26"/>
                    <a:pt x="901" y="25"/>
                  </a:cubicBezTo>
                  <a:cubicBezTo>
                    <a:pt x="887" y="21"/>
                    <a:pt x="870" y="20"/>
                    <a:pt x="852" y="19"/>
                  </a:cubicBezTo>
                  <a:moveTo>
                    <a:pt x="852" y="19"/>
                  </a:moveTo>
                  <a:cubicBezTo>
                    <a:pt x="846" y="16"/>
                    <a:pt x="842" y="20"/>
                    <a:pt x="852" y="19"/>
                  </a:cubicBezTo>
                  <a:moveTo>
                    <a:pt x="693" y="19"/>
                  </a:moveTo>
                  <a:cubicBezTo>
                    <a:pt x="683" y="17"/>
                    <a:pt x="687" y="22"/>
                    <a:pt x="693" y="19"/>
                  </a:cubicBezTo>
                  <a:close/>
                  <a:moveTo>
                    <a:pt x="751" y="20"/>
                  </a:moveTo>
                  <a:cubicBezTo>
                    <a:pt x="751" y="19"/>
                    <a:pt x="752" y="20"/>
                    <a:pt x="751" y="20"/>
                  </a:cubicBezTo>
                  <a:close/>
                  <a:moveTo>
                    <a:pt x="754" y="81"/>
                  </a:moveTo>
                  <a:cubicBezTo>
                    <a:pt x="762" y="81"/>
                    <a:pt x="770" y="81"/>
                    <a:pt x="778" y="81"/>
                  </a:cubicBezTo>
                  <a:cubicBezTo>
                    <a:pt x="774" y="59"/>
                    <a:pt x="781" y="26"/>
                    <a:pt x="762" y="19"/>
                  </a:cubicBezTo>
                  <a:cubicBezTo>
                    <a:pt x="759" y="39"/>
                    <a:pt x="756" y="59"/>
                    <a:pt x="754" y="81"/>
                  </a:cubicBezTo>
                  <a:close/>
                  <a:moveTo>
                    <a:pt x="826" y="19"/>
                  </a:moveTo>
                  <a:cubicBezTo>
                    <a:pt x="820" y="18"/>
                    <a:pt x="824" y="22"/>
                    <a:pt x="826" y="19"/>
                  </a:cubicBezTo>
                  <a:close/>
                  <a:moveTo>
                    <a:pt x="641" y="21"/>
                  </a:moveTo>
                  <a:cubicBezTo>
                    <a:pt x="619" y="23"/>
                    <a:pt x="596" y="25"/>
                    <a:pt x="580" y="33"/>
                  </a:cubicBezTo>
                  <a:moveTo>
                    <a:pt x="580" y="33"/>
                  </a:moveTo>
                  <a:cubicBezTo>
                    <a:pt x="576" y="32"/>
                    <a:pt x="579" y="36"/>
                    <a:pt x="580" y="33"/>
                  </a:cubicBezTo>
                  <a:moveTo>
                    <a:pt x="580" y="33"/>
                  </a:moveTo>
                  <a:cubicBezTo>
                    <a:pt x="600" y="29"/>
                    <a:pt x="622" y="26"/>
                    <a:pt x="641" y="21"/>
                  </a:cubicBezTo>
                  <a:moveTo>
                    <a:pt x="641" y="21"/>
                  </a:moveTo>
                  <a:cubicBezTo>
                    <a:pt x="646" y="22"/>
                    <a:pt x="642" y="18"/>
                    <a:pt x="641" y="21"/>
                  </a:cubicBezTo>
                  <a:moveTo>
                    <a:pt x="632" y="29"/>
                  </a:moveTo>
                  <a:cubicBezTo>
                    <a:pt x="649" y="25"/>
                    <a:pt x="668" y="24"/>
                    <a:pt x="684" y="20"/>
                  </a:cubicBezTo>
                  <a:cubicBezTo>
                    <a:pt x="666" y="22"/>
                    <a:pt x="644" y="21"/>
                    <a:pt x="632" y="29"/>
                  </a:cubicBezTo>
                  <a:close/>
                  <a:moveTo>
                    <a:pt x="710" y="20"/>
                  </a:moveTo>
                  <a:cubicBezTo>
                    <a:pt x="709" y="20"/>
                    <a:pt x="707" y="19"/>
                    <a:pt x="707" y="21"/>
                  </a:cubicBezTo>
                  <a:cubicBezTo>
                    <a:pt x="708" y="20"/>
                    <a:pt x="710" y="21"/>
                    <a:pt x="710" y="20"/>
                  </a:cubicBezTo>
                  <a:close/>
                  <a:moveTo>
                    <a:pt x="726" y="21"/>
                  </a:moveTo>
                  <a:cubicBezTo>
                    <a:pt x="725" y="20"/>
                    <a:pt x="726" y="21"/>
                    <a:pt x="726" y="21"/>
                  </a:cubicBezTo>
                  <a:close/>
                  <a:moveTo>
                    <a:pt x="739" y="21"/>
                  </a:moveTo>
                  <a:cubicBezTo>
                    <a:pt x="739" y="20"/>
                    <a:pt x="740" y="21"/>
                    <a:pt x="739" y="21"/>
                  </a:cubicBezTo>
                  <a:close/>
                  <a:moveTo>
                    <a:pt x="749" y="21"/>
                  </a:moveTo>
                  <a:cubicBezTo>
                    <a:pt x="725" y="27"/>
                    <a:pt x="705" y="37"/>
                    <a:pt x="686" y="48"/>
                  </a:cubicBezTo>
                  <a:cubicBezTo>
                    <a:pt x="681" y="59"/>
                    <a:pt x="675" y="70"/>
                    <a:pt x="672" y="82"/>
                  </a:cubicBezTo>
                  <a:cubicBezTo>
                    <a:pt x="679" y="82"/>
                    <a:pt x="686" y="82"/>
                    <a:pt x="693" y="82"/>
                  </a:cubicBezTo>
                  <a:cubicBezTo>
                    <a:pt x="709" y="59"/>
                    <a:pt x="727" y="38"/>
                    <a:pt x="749" y="21"/>
                  </a:cubicBezTo>
                  <a:moveTo>
                    <a:pt x="749" y="21"/>
                  </a:moveTo>
                  <a:cubicBezTo>
                    <a:pt x="753" y="22"/>
                    <a:pt x="749" y="18"/>
                    <a:pt x="749" y="21"/>
                  </a:cubicBezTo>
                  <a:moveTo>
                    <a:pt x="793" y="21"/>
                  </a:moveTo>
                  <a:cubicBezTo>
                    <a:pt x="792" y="20"/>
                    <a:pt x="793" y="21"/>
                    <a:pt x="793" y="21"/>
                  </a:cubicBezTo>
                  <a:close/>
                  <a:moveTo>
                    <a:pt x="810" y="20"/>
                  </a:moveTo>
                  <a:cubicBezTo>
                    <a:pt x="809" y="20"/>
                    <a:pt x="808" y="20"/>
                    <a:pt x="808" y="21"/>
                  </a:cubicBezTo>
                  <a:cubicBezTo>
                    <a:pt x="809" y="20"/>
                    <a:pt x="810" y="21"/>
                    <a:pt x="810" y="20"/>
                  </a:cubicBezTo>
                  <a:close/>
                  <a:moveTo>
                    <a:pt x="837" y="21"/>
                  </a:moveTo>
                  <a:cubicBezTo>
                    <a:pt x="837" y="22"/>
                    <a:pt x="839" y="22"/>
                    <a:pt x="839" y="21"/>
                  </a:cubicBezTo>
                  <a:cubicBezTo>
                    <a:pt x="834" y="18"/>
                    <a:pt x="826" y="21"/>
                    <a:pt x="837" y="21"/>
                  </a:cubicBezTo>
                  <a:close/>
                  <a:moveTo>
                    <a:pt x="699" y="22"/>
                  </a:moveTo>
                  <a:cubicBezTo>
                    <a:pt x="667" y="27"/>
                    <a:pt x="629" y="26"/>
                    <a:pt x="610" y="45"/>
                  </a:cubicBezTo>
                  <a:moveTo>
                    <a:pt x="610" y="45"/>
                  </a:moveTo>
                  <a:cubicBezTo>
                    <a:pt x="606" y="44"/>
                    <a:pt x="610" y="47"/>
                    <a:pt x="610" y="45"/>
                  </a:cubicBezTo>
                  <a:moveTo>
                    <a:pt x="699" y="22"/>
                  </a:moveTo>
                  <a:cubicBezTo>
                    <a:pt x="668" y="28"/>
                    <a:pt x="639" y="36"/>
                    <a:pt x="610" y="45"/>
                  </a:cubicBezTo>
                  <a:moveTo>
                    <a:pt x="699" y="22"/>
                  </a:moveTo>
                  <a:cubicBezTo>
                    <a:pt x="703" y="22"/>
                    <a:pt x="699" y="19"/>
                    <a:pt x="699" y="22"/>
                  </a:cubicBezTo>
                  <a:moveTo>
                    <a:pt x="720" y="22"/>
                  </a:moveTo>
                  <a:cubicBezTo>
                    <a:pt x="713" y="23"/>
                    <a:pt x="705" y="22"/>
                    <a:pt x="702" y="26"/>
                  </a:cubicBezTo>
                  <a:cubicBezTo>
                    <a:pt x="708" y="25"/>
                    <a:pt x="714" y="24"/>
                    <a:pt x="720" y="22"/>
                  </a:cubicBezTo>
                  <a:moveTo>
                    <a:pt x="720" y="22"/>
                  </a:moveTo>
                  <a:cubicBezTo>
                    <a:pt x="725" y="23"/>
                    <a:pt x="721" y="19"/>
                    <a:pt x="720" y="22"/>
                  </a:cubicBezTo>
                  <a:moveTo>
                    <a:pt x="690" y="43"/>
                  </a:moveTo>
                  <a:cubicBezTo>
                    <a:pt x="689" y="43"/>
                    <a:pt x="690" y="44"/>
                    <a:pt x="690" y="43"/>
                  </a:cubicBezTo>
                  <a:moveTo>
                    <a:pt x="690" y="43"/>
                  </a:moveTo>
                  <a:cubicBezTo>
                    <a:pt x="705" y="35"/>
                    <a:pt x="721" y="28"/>
                    <a:pt x="737" y="21"/>
                  </a:cubicBezTo>
                  <a:cubicBezTo>
                    <a:pt x="720" y="26"/>
                    <a:pt x="695" y="25"/>
                    <a:pt x="690" y="43"/>
                  </a:cubicBezTo>
                  <a:moveTo>
                    <a:pt x="812" y="81"/>
                  </a:moveTo>
                  <a:cubicBezTo>
                    <a:pt x="830" y="82"/>
                    <a:pt x="849" y="82"/>
                    <a:pt x="867" y="83"/>
                  </a:cubicBezTo>
                  <a:cubicBezTo>
                    <a:pt x="844" y="58"/>
                    <a:pt x="811" y="35"/>
                    <a:pt x="774" y="21"/>
                  </a:cubicBezTo>
                  <a:cubicBezTo>
                    <a:pt x="788" y="40"/>
                    <a:pt x="803" y="58"/>
                    <a:pt x="812" y="81"/>
                  </a:cubicBezTo>
                  <a:close/>
                  <a:moveTo>
                    <a:pt x="852" y="66"/>
                  </a:moveTo>
                  <a:cubicBezTo>
                    <a:pt x="863" y="75"/>
                    <a:pt x="870" y="86"/>
                    <a:pt x="887" y="84"/>
                  </a:cubicBezTo>
                  <a:cubicBezTo>
                    <a:pt x="882" y="71"/>
                    <a:pt x="874" y="61"/>
                    <a:pt x="867" y="49"/>
                  </a:cubicBezTo>
                  <a:cubicBezTo>
                    <a:pt x="840" y="39"/>
                    <a:pt x="812" y="26"/>
                    <a:pt x="783" y="22"/>
                  </a:cubicBezTo>
                  <a:cubicBezTo>
                    <a:pt x="810" y="32"/>
                    <a:pt x="831" y="48"/>
                    <a:pt x="852" y="66"/>
                  </a:cubicBezTo>
                  <a:close/>
                  <a:moveTo>
                    <a:pt x="799" y="22"/>
                  </a:moveTo>
                  <a:cubicBezTo>
                    <a:pt x="821" y="29"/>
                    <a:pt x="844" y="36"/>
                    <a:pt x="863" y="46"/>
                  </a:cubicBezTo>
                  <a:cubicBezTo>
                    <a:pt x="854" y="26"/>
                    <a:pt x="823" y="27"/>
                    <a:pt x="799" y="22"/>
                  </a:cubicBezTo>
                  <a:moveTo>
                    <a:pt x="799" y="22"/>
                  </a:moveTo>
                  <a:cubicBezTo>
                    <a:pt x="797" y="19"/>
                    <a:pt x="793" y="23"/>
                    <a:pt x="799" y="22"/>
                  </a:cubicBezTo>
                  <a:moveTo>
                    <a:pt x="817" y="21"/>
                  </a:moveTo>
                  <a:cubicBezTo>
                    <a:pt x="811" y="19"/>
                    <a:pt x="815" y="24"/>
                    <a:pt x="817" y="21"/>
                  </a:cubicBezTo>
                  <a:close/>
                  <a:moveTo>
                    <a:pt x="928" y="41"/>
                  </a:moveTo>
                  <a:cubicBezTo>
                    <a:pt x="928" y="44"/>
                    <a:pt x="932" y="40"/>
                    <a:pt x="928" y="41"/>
                  </a:cubicBezTo>
                  <a:moveTo>
                    <a:pt x="928" y="41"/>
                  </a:moveTo>
                  <a:cubicBezTo>
                    <a:pt x="909" y="25"/>
                    <a:pt x="871" y="25"/>
                    <a:pt x="844" y="22"/>
                  </a:cubicBezTo>
                  <a:cubicBezTo>
                    <a:pt x="872" y="28"/>
                    <a:pt x="901" y="33"/>
                    <a:pt x="928" y="41"/>
                  </a:cubicBezTo>
                  <a:moveTo>
                    <a:pt x="901" y="21"/>
                  </a:moveTo>
                  <a:cubicBezTo>
                    <a:pt x="900" y="21"/>
                    <a:pt x="899" y="21"/>
                    <a:pt x="899" y="22"/>
                  </a:cubicBezTo>
                  <a:cubicBezTo>
                    <a:pt x="900" y="21"/>
                    <a:pt x="901" y="22"/>
                    <a:pt x="901" y="21"/>
                  </a:cubicBezTo>
                  <a:close/>
                  <a:moveTo>
                    <a:pt x="847" y="28"/>
                  </a:moveTo>
                  <a:cubicBezTo>
                    <a:pt x="848" y="30"/>
                    <a:pt x="849" y="28"/>
                    <a:pt x="847" y="28"/>
                  </a:cubicBezTo>
                  <a:moveTo>
                    <a:pt x="847" y="28"/>
                  </a:moveTo>
                  <a:cubicBezTo>
                    <a:pt x="842" y="22"/>
                    <a:pt x="827" y="22"/>
                    <a:pt x="818" y="23"/>
                  </a:cubicBezTo>
                  <a:cubicBezTo>
                    <a:pt x="829" y="23"/>
                    <a:pt x="837" y="27"/>
                    <a:pt x="847" y="28"/>
                  </a:cubicBezTo>
                  <a:moveTo>
                    <a:pt x="909" y="22"/>
                  </a:moveTo>
                  <a:cubicBezTo>
                    <a:pt x="904" y="21"/>
                    <a:pt x="908" y="24"/>
                    <a:pt x="909" y="22"/>
                  </a:cubicBezTo>
                  <a:close/>
                  <a:moveTo>
                    <a:pt x="916" y="23"/>
                  </a:moveTo>
                  <a:cubicBezTo>
                    <a:pt x="914" y="23"/>
                    <a:pt x="913" y="22"/>
                    <a:pt x="913" y="23"/>
                  </a:cubicBezTo>
                  <a:cubicBezTo>
                    <a:pt x="914" y="23"/>
                    <a:pt x="915" y="24"/>
                    <a:pt x="916" y="23"/>
                  </a:cubicBezTo>
                  <a:close/>
                  <a:moveTo>
                    <a:pt x="922" y="24"/>
                  </a:moveTo>
                  <a:cubicBezTo>
                    <a:pt x="922" y="25"/>
                    <a:pt x="922" y="25"/>
                    <a:pt x="922" y="25"/>
                  </a:cubicBezTo>
                  <a:cubicBezTo>
                    <a:pt x="927" y="25"/>
                    <a:pt x="928" y="27"/>
                    <a:pt x="932" y="26"/>
                  </a:cubicBezTo>
                  <a:moveTo>
                    <a:pt x="932" y="26"/>
                  </a:moveTo>
                  <a:cubicBezTo>
                    <a:pt x="934" y="29"/>
                    <a:pt x="938" y="25"/>
                    <a:pt x="932" y="26"/>
                  </a:cubicBezTo>
                  <a:moveTo>
                    <a:pt x="932" y="26"/>
                  </a:moveTo>
                  <a:cubicBezTo>
                    <a:pt x="932" y="26"/>
                    <a:pt x="932" y="26"/>
                    <a:pt x="932" y="25"/>
                  </a:cubicBezTo>
                  <a:cubicBezTo>
                    <a:pt x="928" y="26"/>
                    <a:pt x="927" y="24"/>
                    <a:pt x="922" y="24"/>
                  </a:cubicBezTo>
                  <a:moveTo>
                    <a:pt x="922" y="24"/>
                  </a:moveTo>
                  <a:cubicBezTo>
                    <a:pt x="919" y="22"/>
                    <a:pt x="915" y="26"/>
                    <a:pt x="922" y="24"/>
                  </a:cubicBezTo>
                  <a:moveTo>
                    <a:pt x="907" y="25"/>
                  </a:moveTo>
                  <a:cubicBezTo>
                    <a:pt x="907" y="26"/>
                    <a:pt x="907" y="26"/>
                    <a:pt x="907" y="26"/>
                  </a:cubicBezTo>
                  <a:cubicBezTo>
                    <a:pt x="934" y="34"/>
                    <a:pt x="965" y="42"/>
                    <a:pt x="990" y="47"/>
                  </a:cubicBezTo>
                  <a:cubicBezTo>
                    <a:pt x="967" y="36"/>
                    <a:pt x="938" y="29"/>
                    <a:pt x="907" y="25"/>
                  </a:cubicBezTo>
                  <a:moveTo>
                    <a:pt x="907" y="25"/>
                  </a:moveTo>
                  <a:cubicBezTo>
                    <a:pt x="907" y="23"/>
                    <a:pt x="903" y="26"/>
                    <a:pt x="907" y="25"/>
                  </a:cubicBezTo>
                  <a:moveTo>
                    <a:pt x="602" y="50"/>
                  </a:moveTo>
                  <a:cubicBezTo>
                    <a:pt x="598" y="55"/>
                    <a:pt x="592" y="59"/>
                    <a:pt x="587" y="64"/>
                  </a:cubicBezTo>
                  <a:cubicBezTo>
                    <a:pt x="583" y="68"/>
                    <a:pt x="576" y="75"/>
                    <a:pt x="577" y="78"/>
                  </a:cubicBezTo>
                  <a:cubicBezTo>
                    <a:pt x="587" y="77"/>
                    <a:pt x="597" y="71"/>
                    <a:pt x="606" y="66"/>
                  </a:cubicBezTo>
                  <a:cubicBezTo>
                    <a:pt x="631" y="53"/>
                    <a:pt x="656" y="41"/>
                    <a:pt x="683" y="32"/>
                  </a:cubicBezTo>
                  <a:cubicBezTo>
                    <a:pt x="687" y="31"/>
                    <a:pt x="696" y="31"/>
                    <a:pt x="695" y="25"/>
                  </a:cubicBezTo>
                  <a:cubicBezTo>
                    <a:pt x="662" y="32"/>
                    <a:pt x="632" y="41"/>
                    <a:pt x="602" y="50"/>
                  </a:cubicBezTo>
                  <a:close/>
                  <a:moveTo>
                    <a:pt x="530" y="58"/>
                  </a:moveTo>
                  <a:cubicBezTo>
                    <a:pt x="526" y="57"/>
                    <a:pt x="529" y="61"/>
                    <a:pt x="530" y="58"/>
                  </a:cubicBezTo>
                  <a:moveTo>
                    <a:pt x="530" y="58"/>
                  </a:moveTo>
                  <a:cubicBezTo>
                    <a:pt x="546" y="53"/>
                    <a:pt x="563" y="47"/>
                    <a:pt x="581" y="42"/>
                  </a:cubicBezTo>
                  <a:cubicBezTo>
                    <a:pt x="598" y="37"/>
                    <a:pt x="617" y="35"/>
                    <a:pt x="631" y="26"/>
                  </a:cubicBezTo>
                  <a:cubicBezTo>
                    <a:pt x="593" y="33"/>
                    <a:pt x="554" y="38"/>
                    <a:pt x="530" y="58"/>
                  </a:cubicBezTo>
                  <a:moveTo>
                    <a:pt x="969" y="73"/>
                  </a:moveTo>
                  <a:cubicBezTo>
                    <a:pt x="947" y="41"/>
                    <a:pt x="895" y="34"/>
                    <a:pt x="850" y="27"/>
                  </a:cubicBezTo>
                  <a:cubicBezTo>
                    <a:pt x="890" y="42"/>
                    <a:pt x="933" y="54"/>
                    <a:pt x="969" y="73"/>
                  </a:cubicBezTo>
                  <a:close/>
                  <a:moveTo>
                    <a:pt x="939" y="27"/>
                  </a:moveTo>
                  <a:cubicBezTo>
                    <a:pt x="938" y="28"/>
                    <a:pt x="937" y="27"/>
                    <a:pt x="937" y="28"/>
                  </a:cubicBezTo>
                  <a:cubicBezTo>
                    <a:pt x="937" y="28"/>
                    <a:pt x="939" y="28"/>
                    <a:pt x="939" y="27"/>
                  </a:cubicBezTo>
                  <a:close/>
                  <a:moveTo>
                    <a:pt x="574" y="32"/>
                  </a:moveTo>
                  <a:cubicBezTo>
                    <a:pt x="574" y="33"/>
                    <a:pt x="573" y="32"/>
                    <a:pt x="574" y="32"/>
                  </a:cubicBezTo>
                  <a:close/>
                  <a:moveTo>
                    <a:pt x="781" y="81"/>
                  </a:moveTo>
                  <a:cubicBezTo>
                    <a:pt x="790" y="80"/>
                    <a:pt x="801" y="82"/>
                    <a:pt x="808" y="80"/>
                  </a:cubicBezTo>
                  <a:cubicBezTo>
                    <a:pt x="798" y="63"/>
                    <a:pt x="789" y="45"/>
                    <a:pt x="776" y="31"/>
                  </a:cubicBezTo>
                  <a:cubicBezTo>
                    <a:pt x="778" y="48"/>
                    <a:pt x="779" y="65"/>
                    <a:pt x="781" y="81"/>
                  </a:cubicBezTo>
                  <a:close/>
                  <a:moveTo>
                    <a:pt x="526" y="47"/>
                  </a:moveTo>
                  <a:cubicBezTo>
                    <a:pt x="524" y="48"/>
                    <a:pt x="526" y="49"/>
                    <a:pt x="526" y="47"/>
                  </a:cubicBezTo>
                  <a:moveTo>
                    <a:pt x="526" y="47"/>
                  </a:moveTo>
                  <a:cubicBezTo>
                    <a:pt x="543" y="43"/>
                    <a:pt x="560" y="40"/>
                    <a:pt x="573" y="32"/>
                  </a:cubicBezTo>
                  <a:cubicBezTo>
                    <a:pt x="557" y="37"/>
                    <a:pt x="537" y="38"/>
                    <a:pt x="526" y="47"/>
                  </a:cubicBezTo>
                  <a:moveTo>
                    <a:pt x="963" y="32"/>
                  </a:moveTo>
                  <a:cubicBezTo>
                    <a:pt x="962" y="32"/>
                    <a:pt x="961" y="32"/>
                    <a:pt x="961" y="33"/>
                  </a:cubicBezTo>
                  <a:cubicBezTo>
                    <a:pt x="961" y="33"/>
                    <a:pt x="963" y="33"/>
                    <a:pt x="963" y="32"/>
                  </a:cubicBezTo>
                  <a:close/>
                  <a:moveTo>
                    <a:pt x="585" y="80"/>
                  </a:moveTo>
                  <a:cubicBezTo>
                    <a:pt x="601" y="82"/>
                    <a:pt x="616" y="87"/>
                    <a:pt x="632" y="84"/>
                  </a:cubicBezTo>
                  <a:cubicBezTo>
                    <a:pt x="648" y="70"/>
                    <a:pt x="665" y="58"/>
                    <a:pt x="683" y="47"/>
                  </a:cubicBezTo>
                  <a:cubicBezTo>
                    <a:pt x="683" y="42"/>
                    <a:pt x="693" y="36"/>
                    <a:pt x="689" y="33"/>
                  </a:cubicBezTo>
                  <a:cubicBezTo>
                    <a:pt x="652" y="46"/>
                    <a:pt x="617" y="61"/>
                    <a:pt x="585" y="80"/>
                  </a:cubicBezTo>
                  <a:close/>
                  <a:moveTo>
                    <a:pt x="966" y="34"/>
                  </a:moveTo>
                  <a:cubicBezTo>
                    <a:pt x="968" y="37"/>
                    <a:pt x="972" y="33"/>
                    <a:pt x="966" y="34"/>
                  </a:cubicBezTo>
                  <a:moveTo>
                    <a:pt x="966" y="34"/>
                  </a:moveTo>
                  <a:cubicBezTo>
                    <a:pt x="965" y="31"/>
                    <a:pt x="961" y="35"/>
                    <a:pt x="966" y="34"/>
                  </a:cubicBezTo>
                  <a:moveTo>
                    <a:pt x="575" y="35"/>
                  </a:moveTo>
                  <a:cubicBezTo>
                    <a:pt x="574" y="35"/>
                    <a:pt x="575" y="36"/>
                    <a:pt x="575" y="35"/>
                  </a:cubicBezTo>
                  <a:close/>
                  <a:moveTo>
                    <a:pt x="859" y="35"/>
                  </a:moveTo>
                  <a:cubicBezTo>
                    <a:pt x="861" y="40"/>
                    <a:pt x="866" y="43"/>
                    <a:pt x="869" y="48"/>
                  </a:cubicBezTo>
                  <a:cubicBezTo>
                    <a:pt x="878" y="53"/>
                    <a:pt x="889" y="57"/>
                    <a:pt x="900" y="64"/>
                  </a:cubicBezTo>
                  <a:cubicBezTo>
                    <a:pt x="909" y="69"/>
                    <a:pt x="921" y="80"/>
                    <a:pt x="930" y="81"/>
                  </a:cubicBezTo>
                  <a:cubicBezTo>
                    <a:pt x="940" y="82"/>
                    <a:pt x="953" y="76"/>
                    <a:pt x="965" y="73"/>
                  </a:cubicBezTo>
                  <a:cubicBezTo>
                    <a:pt x="931" y="59"/>
                    <a:pt x="898" y="44"/>
                    <a:pt x="859" y="35"/>
                  </a:cubicBezTo>
                  <a:moveTo>
                    <a:pt x="859" y="35"/>
                  </a:moveTo>
                  <a:cubicBezTo>
                    <a:pt x="858" y="34"/>
                    <a:pt x="858" y="35"/>
                    <a:pt x="859" y="35"/>
                  </a:cubicBezTo>
                  <a:moveTo>
                    <a:pt x="993" y="63"/>
                  </a:moveTo>
                  <a:cubicBezTo>
                    <a:pt x="997" y="61"/>
                    <a:pt x="1000" y="59"/>
                    <a:pt x="1001" y="55"/>
                  </a:cubicBezTo>
                  <a:cubicBezTo>
                    <a:pt x="977" y="47"/>
                    <a:pt x="949" y="38"/>
                    <a:pt x="924" y="35"/>
                  </a:cubicBezTo>
                  <a:cubicBezTo>
                    <a:pt x="943" y="48"/>
                    <a:pt x="970" y="54"/>
                    <a:pt x="993" y="63"/>
                  </a:cubicBezTo>
                  <a:close/>
                  <a:moveTo>
                    <a:pt x="973" y="35"/>
                  </a:moveTo>
                  <a:cubicBezTo>
                    <a:pt x="972" y="35"/>
                    <a:pt x="970" y="35"/>
                    <a:pt x="970" y="36"/>
                  </a:cubicBezTo>
                  <a:cubicBezTo>
                    <a:pt x="971" y="36"/>
                    <a:pt x="973" y="36"/>
                    <a:pt x="973" y="35"/>
                  </a:cubicBezTo>
                  <a:close/>
                  <a:moveTo>
                    <a:pt x="530" y="61"/>
                  </a:moveTo>
                  <a:cubicBezTo>
                    <a:pt x="542" y="76"/>
                    <a:pt x="556" y="66"/>
                    <a:pt x="573" y="59"/>
                  </a:cubicBezTo>
                  <a:cubicBezTo>
                    <a:pt x="588" y="53"/>
                    <a:pt x="599" y="49"/>
                    <a:pt x="608" y="42"/>
                  </a:cubicBezTo>
                  <a:cubicBezTo>
                    <a:pt x="611" y="39"/>
                    <a:pt x="617" y="37"/>
                    <a:pt x="614" y="36"/>
                  </a:cubicBezTo>
                  <a:cubicBezTo>
                    <a:pt x="585" y="43"/>
                    <a:pt x="557" y="52"/>
                    <a:pt x="530" y="61"/>
                  </a:cubicBezTo>
                  <a:close/>
                  <a:moveTo>
                    <a:pt x="976" y="36"/>
                  </a:moveTo>
                  <a:cubicBezTo>
                    <a:pt x="975" y="36"/>
                    <a:pt x="974" y="36"/>
                    <a:pt x="974" y="37"/>
                  </a:cubicBezTo>
                  <a:cubicBezTo>
                    <a:pt x="975" y="37"/>
                    <a:pt x="976" y="37"/>
                    <a:pt x="976" y="36"/>
                  </a:cubicBezTo>
                  <a:close/>
                  <a:moveTo>
                    <a:pt x="978" y="38"/>
                  </a:moveTo>
                  <a:cubicBezTo>
                    <a:pt x="978" y="37"/>
                    <a:pt x="979" y="39"/>
                    <a:pt x="978" y="38"/>
                  </a:cubicBezTo>
                  <a:close/>
                  <a:moveTo>
                    <a:pt x="982" y="39"/>
                  </a:moveTo>
                  <a:cubicBezTo>
                    <a:pt x="981" y="38"/>
                    <a:pt x="982" y="39"/>
                    <a:pt x="982" y="39"/>
                  </a:cubicBezTo>
                  <a:close/>
                  <a:moveTo>
                    <a:pt x="931" y="43"/>
                  </a:moveTo>
                  <a:cubicBezTo>
                    <a:pt x="931" y="42"/>
                    <a:pt x="932" y="43"/>
                    <a:pt x="931" y="43"/>
                  </a:cubicBezTo>
                  <a:close/>
                  <a:moveTo>
                    <a:pt x="985" y="43"/>
                  </a:moveTo>
                  <a:cubicBezTo>
                    <a:pt x="984" y="42"/>
                    <a:pt x="985" y="43"/>
                    <a:pt x="985" y="43"/>
                  </a:cubicBezTo>
                  <a:close/>
                  <a:moveTo>
                    <a:pt x="1000" y="48"/>
                  </a:moveTo>
                  <a:cubicBezTo>
                    <a:pt x="997" y="46"/>
                    <a:pt x="991" y="42"/>
                    <a:pt x="987" y="44"/>
                  </a:cubicBezTo>
                  <a:cubicBezTo>
                    <a:pt x="992" y="44"/>
                    <a:pt x="996" y="50"/>
                    <a:pt x="1000" y="48"/>
                  </a:cubicBezTo>
                  <a:close/>
                  <a:moveTo>
                    <a:pt x="489" y="60"/>
                  </a:moveTo>
                  <a:cubicBezTo>
                    <a:pt x="488" y="60"/>
                    <a:pt x="487" y="60"/>
                    <a:pt x="486" y="61"/>
                  </a:cubicBezTo>
                  <a:moveTo>
                    <a:pt x="486" y="61"/>
                  </a:moveTo>
                  <a:cubicBezTo>
                    <a:pt x="485" y="61"/>
                    <a:pt x="485" y="61"/>
                    <a:pt x="485" y="62"/>
                  </a:cubicBezTo>
                  <a:moveTo>
                    <a:pt x="485" y="62"/>
                  </a:moveTo>
                  <a:cubicBezTo>
                    <a:pt x="481" y="61"/>
                    <a:pt x="484" y="65"/>
                    <a:pt x="485" y="62"/>
                  </a:cubicBezTo>
                  <a:moveTo>
                    <a:pt x="485" y="62"/>
                  </a:moveTo>
                  <a:cubicBezTo>
                    <a:pt x="486" y="62"/>
                    <a:pt x="486" y="62"/>
                    <a:pt x="486" y="61"/>
                  </a:cubicBezTo>
                  <a:moveTo>
                    <a:pt x="486" y="61"/>
                  </a:moveTo>
                  <a:cubicBezTo>
                    <a:pt x="488" y="61"/>
                    <a:pt x="489" y="61"/>
                    <a:pt x="489" y="60"/>
                  </a:cubicBezTo>
                  <a:moveTo>
                    <a:pt x="489" y="60"/>
                  </a:moveTo>
                  <a:cubicBezTo>
                    <a:pt x="500" y="55"/>
                    <a:pt x="516" y="55"/>
                    <a:pt x="523" y="46"/>
                  </a:cubicBezTo>
                  <a:cubicBezTo>
                    <a:pt x="511" y="50"/>
                    <a:pt x="500" y="54"/>
                    <a:pt x="489" y="60"/>
                  </a:cubicBezTo>
                  <a:moveTo>
                    <a:pt x="542" y="47"/>
                  </a:moveTo>
                  <a:cubicBezTo>
                    <a:pt x="535" y="47"/>
                    <a:pt x="530" y="50"/>
                    <a:pt x="523" y="51"/>
                  </a:cubicBezTo>
                  <a:cubicBezTo>
                    <a:pt x="523" y="54"/>
                    <a:pt x="523" y="56"/>
                    <a:pt x="524" y="57"/>
                  </a:cubicBezTo>
                  <a:cubicBezTo>
                    <a:pt x="531" y="55"/>
                    <a:pt x="537" y="50"/>
                    <a:pt x="542" y="47"/>
                  </a:cubicBezTo>
                  <a:moveTo>
                    <a:pt x="542" y="47"/>
                  </a:moveTo>
                  <a:cubicBezTo>
                    <a:pt x="546" y="47"/>
                    <a:pt x="542" y="44"/>
                    <a:pt x="542" y="47"/>
                  </a:cubicBezTo>
                  <a:moveTo>
                    <a:pt x="1113" y="98"/>
                  </a:moveTo>
                  <a:cubicBezTo>
                    <a:pt x="1113" y="99"/>
                    <a:pt x="1115" y="99"/>
                    <a:pt x="1115" y="99"/>
                  </a:cubicBezTo>
                  <a:moveTo>
                    <a:pt x="1115" y="99"/>
                  </a:moveTo>
                  <a:cubicBezTo>
                    <a:pt x="1116" y="101"/>
                    <a:pt x="1116" y="99"/>
                    <a:pt x="1115" y="99"/>
                  </a:cubicBezTo>
                  <a:moveTo>
                    <a:pt x="1115" y="99"/>
                  </a:moveTo>
                  <a:cubicBezTo>
                    <a:pt x="1115" y="98"/>
                    <a:pt x="1114" y="99"/>
                    <a:pt x="1113" y="98"/>
                  </a:cubicBezTo>
                  <a:moveTo>
                    <a:pt x="1113" y="98"/>
                  </a:moveTo>
                  <a:cubicBezTo>
                    <a:pt x="1081" y="77"/>
                    <a:pt x="1043" y="57"/>
                    <a:pt x="1002" y="48"/>
                  </a:cubicBezTo>
                  <a:cubicBezTo>
                    <a:pt x="1008" y="57"/>
                    <a:pt x="1020" y="58"/>
                    <a:pt x="1029" y="62"/>
                  </a:cubicBezTo>
                  <a:cubicBezTo>
                    <a:pt x="1057" y="72"/>
                    <a:pt x="1086" y="86"/>
                    <a:pt x="1113" y="98"/>
                  </a:cubicBezTo>
                  <a:moveTo>
                    <a:pt x="991" y="49"/>
                  </a:moveTo>
                  <a:cubicBezTo>
                    <a:pt x="991" y="49"/>
                    <a:pt x="992" y="50"/>
                    <a:pt x="991" y="49"/>
                  </a:cubicBezTo>
                  <a:close/>
                  <a:moveTo>
                    <a:pt x="948" y="50"/>
                  </a:moveTo>
                  <a:cubicBezTo>
                    <a:pt x="957" y="57"/>
                    <a:pt x="965" y="65"/>
                    <a:pt x="974" y="71"/>
                  </a:cubicBezTo>
                  <a:cubicBezTo>
                    <a:pt x="979" y="69"/>
                    <a:pt x="987" y="69"/>
                    <a:pt x="990" y="64"/>
                  </a:cubicBezTo>
                  <a:cubicBezTo>
                    <a:pt x="975" y="60"/>
                    <a:pt x="963" y="54"/>
                    <a:pt x="948" y="50"/>
                  </a:cubicBezTo>
                  <a:moveTo>
                    <a:pt x="948" y="50"/>
                  </a:moveTo>
                  <a:cubicBezTo>
                    <a:pt x="948" y="49"/>
                    <a:pt x="947" y="50"/>
                    <a:pt x="948" y="50"/>
                  </a:cubicBezTo>
                  <a:moveTo>
                    <a:pt x="399" y="114"/>
                  </a:moveTo>
                  <a:cubicBezTo>
                    <a:pt x="405" y="112"/>
                    <a:pt x="411" y="111"/>
                    <a:pt x="416" y="110"/>
                  </a:cubicBezTo>
                  <a:cubicBezTo>
                    <a:pt x="433" y="101"/>
                    <a:pt x="450" y="91"/>
                    <a:pt x="468" y="83"/>
                  </a:cubicBezTo>
                  <a:cubicBezTo>
                    <a:pt x="486" y="75"/>
                    <a:pt x="506" y="70"/>
                    <a:pt x="522" y="58"/>
                  </a:cubicBezTo>
                  <a:cubicBezTo>
                    <a:pt x="520" y="58"/>
                    <a:pt x="520" y="56"/>
                    <a:pt x="520" y="53"/>
                  </a:cubicBezTo>
                  <a:cubicBezTo>
                    <a:pt x="473" y="66"/>
                    <a:pt x="432" y="86"/>
                    <a:pt x="399" y="114"/>
                  </a:cubicBezTo>
                  <a:close/>
                  <a:moveTo>
                    <a:pt x="593" y="54"/>
                  </a:moveTo>
                  <a:cubicBezTo>
                    <a:pt x="578" y="59"/>
                    <a:pt x="564" y="65"/>
                    <a:pt x="550" y="71"/>
                  </a:cubicBezTo>
                  <a:cubicBezTo>
                    <a:pt x="556" y="74"/>
                    <a:pt x="564" y="75"/>
                    <a:pt x="570" y="77"/>
                  </a:cubicBezTo>
                  <a:cubicBezTo>
                    <a:pt x="579" y="71"/>
                    <a:pt x="585" y="62"/>
                    <a:pt x="593" y="54"/>
                  </a:cubicBezTo>
                  <a:moveTo>
                    <a:pt x="593" y="54"/>
                  </a:moveTo>
                  <a:cubicBezTo>
                    <a:pt x="594" y="54"/>
                    <a:pt x="593" y="53"/>
                    <a:pt x="593" y="54"/>
                  </a:cubicBezTo>
                  <a:moveTo>
                    <a:pt x="637" y="84"/>
                  </a:moveTo>
                  <a:cubicBezTo>
                    <a:pt x="647" y="83"/>
                    <a:pt x="659" y="84"/>
                    <a:pt x="668" y="82"/>
                  </a:cubicBezTo>
                  <a:cubicBezTo>
                    <a:pt x="669" y="72"/>
                    <a:pt x="679" y="60"/>
                    <a:pt x="678" y="53"/>
                  </a:cubicBezTo>
                  <a:cubicBezTo>
                    <a:pt x="664" y="64"/>
                    <a:pt x="649" y="72"/>
                    <a:pt x="637" y="84"/>
                  </a:cubicBezTo>
                  <a:close/>
                  <a:moveTo>
                    <a:pt x="890" y="84"/>
                  </a:moveTo>
                  <a:cubicBezTo>
                    <a:pt x="901" y="85"/>
                    <a:pt x="916" y="86"/>
                    <a:pt x="924" y="81"/>
                  </a:cubicBezTo>
                  <a:cubicBezTo>
                    <a:pt x="907" y="73"/>
                    <a:pt x="890" y="59"/>
                    <a:pt x="872" y="54"/>
                  </a:cubicBezTo>
                  <a:cubicBezTo>
                    <a:pt x="879" y="63"/>
                    <a:pt x="885" y="73"/>
                    <a:pt x="890" y="84"/>
                  </a:cubicBezTo>
                  <a:close/>
                  <a:moveTo>
                    <a:pt x="1063" y="94"/>
                  </a:moveTo>
                  <a:cubicBezTo>
                    <a:pt x="1063" y="94"/>
                    <a:pt x="1063" y="94"/>
                    <a:pt x="1063" y="95"/>
                  </a:cubicBezTo>
                  <a:cubicBezTo>
                    <a:pt x="1064" y="95"/>
                    <a:pt x="1065" y="96"/>
                    <a:pt x="1066" y="95"/>
                  </a:cubicBezTo>
                  <a:moveTo>
                    <a:pt x="1066" y="95"/>
                  </a:moveTo>
                  <a:cubicBezTo>
                    <a:pt x="1067" y="97"/>
                    <a:pt x="1067" y="95"/>
                    <a:pt x="1066" y="95"/>
                  </a:cubicBezTo>
                  <a:moveTo>
                    <a:pt x="1066" y="95"/>
                  </a:moveTo>
                  <a:cubicBezTo>
                    <a:pt x="1066" y="94"/>
                    <a:pt x="1065" y="94"/>
                    <a:pt x="1063" y="94"/>
                  </a:cubicBezTo>
                  <a:moveTo>
                    <a:pt x="1063" y="94"/>
                  </a:moveTo>
                  <a:cubicBezTo>
                    <a:pt x="1046" y="79"/>
                    <a:pt x="1027" y="67"/>
                    <a:pt x="1006" y="56"/>
                  </a:cubicBezTo>
                  <a:cubicBezTo>
                    <a:pt x="1001" y="58"/>
                    <a:pt x="1000" y="63"/>
                    <a:pt x="996" y="65"/>
                  </a:cubicBezTo>
                  <a:cubicBezTo>
                    <a:pt x="1020" y="73"/>
                    <a:pt x="1041" y="84"/>
                    <a:pt x="1063" y="94"/>
                  </a:cubicBezTo>
                  <a:moveTo>
                    <a:pt x="482" y="60"/>
                  </a:moveTo>
                  <a:cubicBezTo>
                    <a:pt x="482" y="61"/>
                    <a:pt x="481" y="60"/>
                    <a:pt x="482" y="60"/>
                  </a:cubicBezTo>
                  <a:close/>
                  <a:moveTo>
                    <a:pt x="526" y="60"/>
                  </a:moveTo>
                  <a:cubicBezTo>
                    <a:pt x="526" y="61"/>
                    <a:pt x="525" y="60"/>
                    <a:pt x="526" y="60"/>
                  </a:cubicBezTo>
                  <a:close/>
                  <a:moveTo>
                    <a:pt x="479" y="61"/>
                  </a:moveTo>
                  <a:cubicBezTo>
                    <a:pt x="478" y="61"/>
                    <a:pt x="477" y="61"/>
                    <a:pt x="477" y="62"/>
                  </a:cubicBezTo>
                  <a:moveTo>
                    <a:pt x="477" y="62"/>
                  </a:moveTo>
                  <a:cubicBezTo>
                    <a:pt x="441" y="76"/>
                    <a:pt x="407" y="92"/>
                    <a:pt x="377" y="112"/>
                  </a:cubicBezTo>
                  <a:moveTo>
                    <a:pt x="377" y="112"/>
                  </a:moveTo>
                  <a:cubicBezTo>
                    <a:pt x="375" y="112"/>
                    <a:pt x="375" y="113"/>
                    <a:pt x="374" y="114"/>
                  </a:cubicBezTo>
                  <a:moveTo>
                    <a:pt x="374" y="114"/>
                  </a:moveTo>
                  <a:cubicBezTo>
                    <a:pt x="373" y="114"/>
                    <a:pt x="372" y="114"/>
                    <a:pt x="372" y="115"/>
                  </a:cubicBezTo>
                  <a:moveTo>
                    <a:pt x="372" y="115"/>
                  </a:moveTo>
                  <a:cubicBezTo>
                    <a:pt x="371" y="115"/>
                    <a:pt x="371" y="115"/>
                    <a:pt x="370" y="116"/>
                  </a:cubicBezTo>
                  <a:moveTo>
                    <a:pt x="370" y="116"/>
                  </a:moveTo>
                  <a:cubicBezTo>
                    <a:pt x="370" y="115"/>
                    <a:pt x="369" y="116"/>
                    <a:pt x="369" y="117"/>
                  </a:cubicBezTo>
                  <a:moveTo>
                    <a:pt x="369" y="117"/>
                  </a:moveTo>
                  <a:cubicBezTo>
                    <a:pt x="368" y="116"/>
                    <a:pt x="368" y="117"/>
                    <a:pt x="367" y="118"/>
                  </a:cubicBezTo>
                  <a:moveTo>
                    <a:pt x="367" y="118"/>
                  </a:moveTo>
                  <a:cubicBezTo>
                    <a:pt x="366" y="118"/>
                    <a:pt x="368" y="119"/>
                    <a:pt x="367" y="118"/>
                  </a:cubicBezTo>
                  <a:moveTo>
                    <a:pt x="367" y="118"/>
                  </a:moveTo>
                  <a:cubicBezTo>
                    <a:pt x="369" y="118"/>
                    <a:pt x="369" y="117"/>
                    <a:pt x="369" y="117"/>
                  </a:cubicBezTo>
                  <a:moveTo>
                    <a:pt x="369" y="117"/>
                  </a:moveTo>
                  <a:cubicBezTo>
                    <a:pt x="370" y="117"/>
                    <a:pt x="370" y="116"/>
                    <a:pt x="370" y="116"/>
                  </a:cubicBezTo>
                  <a:moveTo>
                    <a:pt x="370" y="116"/>
                  </a:moveTo>
                  <a:cubicBezTo>
                    <a:pt x="371" y="116"/>
                    <a:pt x="372" y="115"/>
                    <a:pt x="372" y="115"/>
                  </a:cubicBezTo>
                  <a:moveTo>
                    <a:pt x="372" y="115"/>
                  </a:moveTo>
                  <a:cubicBezTo>
                    <a:pt x="373" y="115"/>
                    <a:pt x="374" y="114"/>
                    <a:pt x="374" y="114"/>
                  </a:cubicBezTo>
                  <a:moveTo>
                    <a:pt x="374" y="114"/>
                  </a:moveTo>
                  <a:cubicBezTo>
                    <a:pt x="376" y="114"/>
                    <a:pt x="377" y="113"/>
                    <a:pt x="377" y="112"/>
                  </a:cubicBezTo>
                  <a:moveTo>
                    <a:pt x="377" y="112"/>
                  </a:moveTo>
                  <a:cubicBezTo>
                    <a:pt x="409" y="94"/>
                    <a:pt x="445" y="80"/>
                    <a:pt x="477" y="62"/>
                  </a:cubicBezTo>
                  <a:moveTo>
                    <a:pt x="477" y="62"/>
                  </a:moveTo>
                  <a:cubicBezTo>
                    <a:pt x="478" y="62"/>
                    <a:pt x="479" y="62"/>
                    <a:pt x="479" y="61"/>
                  </a:cubicBezTo>
                  <a:moveTo>
                    <a:pt x="479" y="61"/>
                  </a:moveTo>
                  <a:cubicBezTo>
                    <a:pt x="483" y="62"/>
                    <a:pt x="479" y="58"/>
                    <a:pt x="479" y="61"/>
                  </a:cubicBezTo>
                  <a:moveTo>
                    <a:pt x="481" y="64"/>
                  </a:moveTo>
                  <a:cubicBezTo>
                    <a:pt x="480" y="63"/>
                    <a:pt x="481" y="64"/>
                    <a:pt x="481" y="64"/>
                  </a:cubicBezTo>
                  <a:close/>
                  <a:moveTo>
                    <a:pt x="524" y="63"/>
                  </a:moveTo>
                  <a:cubicBezTo>
                    <a:pt x="510" y="69"/>
                    <a:pt x="495" y="80"/>
                    <a:pt x="484" y="90"/>
                  </a:cubicBezTo>
                  <a:cubicBezTo>
                    <a:pt x="480" y="92"/>
                    <a:pt x="475" y="96"/>
                    <a:pt x="476" y="99"/>
                  </a:cubicBezTo>
                  <a:cubicBezTo>
                    <a:pt x="504" y="96"/>
                    <a:pt x="519" y="80"/>
                    <a:pt x="542" y="71"/>
                  </a:cubicBezTo>
                  <a:cubicBezTo>
                    <a:pt x="535" y="69"/>
                    <a:pt x="530" y="65"/>
                    <a:pt x="524" y="63"/>
                  </a:cubicBezTo>
                  <a:close/>
                  <a:moveTo>
                    <a:pt x="479" y="65"/>
                  </a:moveTo>
                  <a:cubicBezTo>
                    <a:pt x="478" y="64"/>
                    <a:pt x="479" y="65"/>
                    <a:pt x="479" y="65"/>
                  </a:cubicBezTo>
                  <a:close/>
                  <a:moveTo>
                    <a:pt x="1028" y="65"/>
                  </a:moveTo>
                  <a:cubicBezTo>
                    <a:pt x="1048" y="78"/>
                    <a:pt x="1066" y="92"/>
                    <a:pt x="1086" y="106"/>
                  </a:cubicBezTo>
                  <a:cubicBezTo>
                    <a:pt x="1106" y="107"/>
                    <a:pt x="1124" y="115"/>
                    <a:pt x="1141" y="117"/>
                  </a:cubicBezTo>
                  <a:cubicBezTo>
                    <a:pt x="1105" y="97"/>
                    <a:pt x="1069" y="79"/>
                    <a:pt x="1028" y="65"/>
                  </a:cubicBezTo>
                  <a:moveTo>
                    <a:pt x="1028" y="65"/>
                  </a:moveTo>
                  <a:cubicBezTo>
                    <a:pt x="1028" y="62"/>
                    <a:pt x="1024" y="66"/>
                    <a:pt x="1028" y="65"/>
                  </a:cubicBezTo>
                  <a:moveTo>
                    <a:pt x="993" y="66"/>
                  </a:moveTo>
                  <a:cubicBezTo>
                    <a:pt x="989" y="70"/>
                    <a:pt x="981" y="71"/>
                    <a:pt x="975" y="74"/>
                  </a:cubicBezTo>
                  <a:cubicBezTo>
                    <a:pt x="984" y="83"/>
                    <a:pt x="999" y="87"/>
                    <a:pt x="1009" y="95"/>
                  </a:cubicBezTo>
                  <a:cubicBezTo>
                    <a:pt x="1032" y="95"/>
                    <a:pt x="1054" y="102"/>
                    <a:pt x="1074" y="102"/>
                  </a:cubicBezTo>
                  <a:cubicBezTo>
                    <a:pt x="1048" y="89"/>
                    <a:pt x="1021" y="77"/>
                    <a:pt x="993" y="66"/>
                  </a:cubicBezTo>
                  <a:close/>
                  <a:moveTo>
                    <a:pt x="504" y="71"/>
                  </a:moveTo>
                  <a:cubicBezTo>
                    <a:pt x="503" y="71"/>
                    <a:pt x="504" y="72"/>
                    <a:pt x="504" y="71"/>
                  </a:cubicBezTo>
                  <a:close/>
                  <a:moveTo>
                    <a:pt x="502" y="72"/>
                  </a:moveTo>
                  <a:cubicBezTo>
                    <a:pt x="476" y="83"/>
                    <a:pt x="450" y="93"/>
                    <a:pt x="428" y="107"/>
                  </a:cubicBezTo>
                  <a:moveTo>
                    <a:pt x="428" y="107"/>
                  </a:moveTo>
                  <a:cubicBezTo>
                    <a:pt x="424" y="106"/>
                    <a:pt x="428" y="110"/>
                    <a:pt x="428" y="107"/>
                  </a:cubicBezTo>
                  <a:moveTo>
                    <a:pt x="428" y="107"/>
                  </a:moveTo>
                  <a:cubicBezTo>
                    <a:pt x="442" y="105"/>
                    <a:pt x="455" y="103"/>
                    <a:pt x="468" y="100"/>
                  </a:cubicBezTo>
                  <a:cubicBezTo>
                    <a:pt x="479" y="91"/>
                    <a:pt x="490" y="82"/>
                    <a:pt x="502" y="72"/>
                  </a:cubicBezTo>
                  <a:moveTo>
                    <a:pt x="502" y="72"/>
                  </a:moveTo>
                  <a:cubicBezTo>
                    <a:pt x="503" y="72"/>
                    <a:pt x="502" y="71"/>
                    <a:pt x="502" y="72"/>
                  </a:cubicBezTo>
                  <a:moveTo>
                    <a:pt x="544" y="73"/>
                  </a:moveTo>
                  <a:cubicBezTo>
                    <a:pt x="530" y="79"/>
                    <a:pt x="513" y="89"/>
                    <a:pt x="501" y="95"/>
                  </a:cubicBezTo>
                  <a:cubicBezTo>
                    <a:pt x="522" y="94"/>
                    <a:pt x="540" y="90"/>
                    <a:pt x="561" y="90"/>
                  </a:cubicBezTo>
                  <a:cubicBezTo>
                    <a:pt x="565" y="87"/>
                    <a:pt x="567" y="83"/>
                    <a:pt x="570" y="79"/>
                  </a:cubicBezTo>
                  <a:cubicBezTo>
                    <a:pt x="561" y="81"/>
                    <a:pt x="551" y="71"/>
                    <a:pt x="544" y="73"/>
                  </a:cubicBezTo>
                  <a:close/>
                  <a:moveTo>
                    <a:pt x="933" y="85"/>
                  </a:moveTo>
                  <a:cubicBezTo>
                    <a:pt x="948" y="90"/>
                    <a:pt x="970" y="89"/>
                    <a:pt x="988" y="92"/>
                  </a:cubicBezTo>
                  <a:cubicBezTo>
                    <a:pt x="981" y="71"/>
                    <a:pt x="952" y="78"/>
                    <a:pt x="933" y="85"/>
                  </a:cubicBezTo>
                  <a:close/>
                  <a:moveTo>
                    <a:pt x="569" y="86"/>
                  </a:moveTo>
                  <a:cubicBezTo>
                    <a:pt x="568" y="86"/>
                    <a:pt x="569" y="87"/>
                    <a:pt x="569" y="86"/>
                  </a:cubicBezTo>
                  <a:moveTo>
                    <a:pt x="569" y="86"/>
                  </a:moveTo>
                  <a:cubicBezTo>
                    <a:pt x="572" y="85"/>
                    <a:pt x="575" y="84"/>
                    <a:pt x="577" y="81"/>
                  </a:cubicBezTo>
                  <a:cubicBezTo>
                    <a:pt x="574" y="81"/>
                    <a:pt x="575" y="79"/>
                    <a:pt x="572" y="80"/>
                  </a:cubicBezTo>
                  <a:cubicBezTo>
                    <a:pt x="572" y="84"/>
                    <a:pt x="569" y="82"/>
                    <a:pt x="569" y="86"/>
                  </a:cubicBezTo>
                  <a:moveTo>
                    <a:pt x="573" y="88"/>
                  </a:moveTo>
                  <a:cubicBezTo>
                    <a:pt x="569" y="87"/>
                    <a:pt x="573" y="91"/>
                    <a:pt x="573" y="88"/>
                  </a:cubicBezTo>
                  <a:moveTo>
                    <a:pt x="573" y="88"/>
                  </a:moveTo>
                  <a:cubicBezTo>
                    <a:pt x="583" y="87"/>
                    <a:pt x="594" y="88"/>
                    <a:pt x="602" y="85"/>
                  </a:cubicBezTo>
                  <a:cubicBezTo>
                    <a:pt x="590" y="84"/>
                    <a:pt x="579" y="79"/>
                    <a:pt x="573" y="88"/>
                  </a:cubicBezTo>
                  <a:moveTo>
                    <a:pt x="1092" y="83"/>
                  </a:moveTo>
                  <a:cubicBezTo>
                    <a:pt x="1092" y="83"/>
                    <a:pt x="1093" y="84"/>
                    <a:pt x="1092" y="83"/>
                  </a:cubicBezTo>
                  <a:close/>
                  <a:moveTo>
                    <a:pt x="695" y="84"/>
                  </a:moveTo>
                  <a:cubicBezTo>
                    <a:pt x="694" y="87"/>
                    <a:pt x="692" y="89"/>
                    <a:pt x="690" y="92"/>
                  </a:cubicBezTo>
                  <a:cubicBezTo>
                    <a:pt x="710" y="92"/>
                    <a:pt x="729" y="93"/>
                    <a:pt x="750" y="93"/>
                  </a:cubicBezTo>
                  <a:cubicBezTo>
                    <a:pt x="750" y="88"/>
                    <a:pt x="752" y="87"/>
                    <a:pt x="751" y="83"/>
                  </a:cubicBezTo>
                  <a:cubicBezTo>
                    <a:pt x="732" y="82"/>
                    <a:pt x="715" y="85"/>
                    <a:pt x="695" y="84"/>
                  </a:cubicBezTo>
                  <a:close/>
                  <a:moveTo>
                    <a:pt x="753" y="94"/>
                  </a:moveTo>
                  <a:cubicBezTo>
                    <a:pt x="763" y="94"/>
                    <a:pt x="770" y="92"/>
                    <a:pt x="779" y="93"/>
                  </a:cubicBezTo>
                  <a:cubicBezTo>
                    <a:pt x="780" y="89"/>
                    <a:pt x="778" y="87"/>
                    <a:pt x="778" y="83"/>
                  </a:cubicBezTo>
                  <a:cubicBezTo>
                    <a:pt x="768" y="84"/>
                    <a:pt x="749" y="77"/>
                    <a:pt x="753" y="94"/>
                  </a:cubicBezTo>
                  <a:close/>
                  <a:moveTo>
                    <a:pt x="781" y="93"/>
                  </a:moveTo>
                  <a:cubicBezTo>
                    <a:pt x="792" y="92"/>
                    <a:pt x="805" y="94"/>
                    <a:pt x="814" y="92"/>
                  </a:cubicBezTo>
                  <a:cubicBezTo>
                    <a:pt x="812" y="90"/>
                    <a:pt x="811" y="87"/>
                    <a:pt x="810" y="84"/>
                  </a:cubicBezTo>
                  <a:cubicBezTo>
                    <a:pt x="800" y="84"/>
                    <a:pt x="792" y="82"/>
                    <a:pt x="781" y="83"/>
                  </a:cubicBezTo>
                  <a:cubicBezTo>
                    <a:pt x="781" y="86"/>
                    <a:pt x="781" y="89"/>
                    <a:pt x="781" y="93"/>
                  </a:cubicBezTo>
                  <a:close/>
                  <a:moveTo>
                    <a:pt x="1094" y="84"/>
                  </a:moveTo>
                  <a:cubicBezTo>
                    <a:pt x="1095" y="85"/>
                    <a:pt x="1094" y="84"/>
                    <a:pt x="1094" y="84"/>
                  </a:cubicBezTo>
                  <a:close/>
                  <a:moveTo>
                    <a:pt x="670" y="85"/>
                  </a:moveTo>
                  <a:cubicBezTo>
                    <a:pt x="671" y="88"/>
                    <a:pt x="668" y="87"/>
                    <a:pt x="669" y="90"/>
                  </a:cubicBezTo>
                  <a:cubicBezTo>
                    <a:pt x="675" y="90"/>
                    <a:pt x="681" y="91"/>
                    <a:pt x="688" y="91"/>
                  </a:cubicBezTo>
                  <a:cubicBezTo>
                    <a:pt x="688" y="88"/>
                    <a:pt x="691" y="86"/>
                    <a:pt x="692" y="84"/>
                  </a:cubicBezTo>
                  <a:cubicBezTo>
                    <a:pt x="685" y="84"/>
                    <a:pt x="678" y="85"/>
                    <a:pt x="670" y="85"/>
                  </a:cubicBezTo>
                  <a:close/>
                  <a:moveTo>
                    <a:pt x="818" y="92"/>
                  </a:moveTo>
                  <a:cubicBezTo>
                    <a:pt x="837" y="91"/>
                    <a:pt x="856" y="90"/>
                    <a:pt x="873" y="88"/>
                  </a:cubicBezTo>
                  <a:cubicBezTo>
                    <a:pt x="858" y="83"/>
                    <a:pt x="832" y="84"/>
                    <a:pt x="814" y="85"/>
                  </a:cubicBezTo>
                  <a:cubicBezTo>
                    <a:pt x="816" y="86"/>
                    <a:pt x="816" y="90"/>
                    <a:pt x="818" y="92"/>
                  </a:cubicBezTo>
                  <a:close/>
                  <a:moveTo>
                    <a:pt x="1096" y="85"/>
                  </a:moveTo>
                  <a:cubicBezTo>
                    <a:pt x="1096" y="85"/>
                    <a:pt x="1097" y="86"/>
                    <a:pt x="1096" y="85"/>
                  </a:cubicBezTo>
                  <a:close/>
                  <a:moveTo>
                    <a:pt x="639" y="88"/>
                  </a:moveTo>
                  <a:cubicBezTo>
                    <a:pt x="648" y="88"/>
                    <a:pt x="656" y="89"/>
                    <a:pt x="665" y="90"/>
                  </a:cubicBezTo>
                  <a:cubicBezTo>
                    <a:pt x="664" y="87"/>
                    <a:pt x="666" y="87"/>
                    <a:pt x="666" y="85"/>
                  </a:cubicBezTo>
                  <a:cubicBezTo>
                    <a:pt x="658" y="87"/>
                    <a:pt x="645" y="84"/>
                    <a:pt x="639" y="88"/>
                  </a:cubicBezTo>
                  <a:close/>
                  <a:moveTo>
                    <a:pt x="931" y="86"/>
                  </a:moveTo>
                  <a:cubicBezTo>
                    <a:pt x="930" y="85"/>
                    <a:pt x="923" y="84"/>
                    <a:pt x="922" y="86"/>
                  </a:cubicBezTo>
                  <a:cubicBezTo>
                    <a:pt x="926" y="85"/>
                    <a:pt x="929" y="89"/>
                    <a:pt x="931" y="86"/>
                  </a:cubicBezTo>
                  <a:close/>
                  <a:moveTo>
                    <a:pt x="988" y="86"/>
                  </a:moveTo>
                  <a:cubicBezTo>
                    <a:pt x="988" y="86"/>
                    <a:pt x="988" y="87"/>
                    <a:pt x="988" y="87"/>
                  </a:cubicBezTo>
                  <a:cubicBezTo>
                    <a:pt x="990" y="88"/>
                    <a:pt x="991" y="90"/>
                    <a:pt x="992" y="93"/>
                  </a:cubicBezTo>
                  <a:cubicBezTo>
                    <a:pt x="995" y="93"/>
                    <a:pt x="998" y="93"/>
                    <a:pt x="1000" y="93"/>
                  </a:cubicBezTo>
                  <a:moveTo>
                    <a:pt x="1000" y="93"/>
                  </a:moveTo>
                  <a:cubicBezTo>
                    <a:pt x="1001" y="94"/>
                    <a:pt x="1001" y="93"/>
                    <a:pt x="1000" y="93"/>
                  </a:cubicBezTo>
                  <a:moveTo>
                    <a:pt x="1000" y="93"/>
                  </a:moveTo>
                  <a:cubicBezTo>
                    <a:pt x="996" y="90"/>
                    <a:pt x="993" y="87"/>
                    <a:pt x="988" y="86"/>
                  </a:cubicBezTo>
                  <a:moveTo>
                    <a:pt x="988" y="86"/>
                  </a:moveTo>
                  <a:cubicBezTo>
                    <a:pt x="987" y="84"/>
                    <a:pt x="986" y="86"/>
                    <a:pt x="988" y="86"/>
                  </a:cubicBezTo>
                  <a:moveTo>
                    <a:pt x="1173" y="127"/>
                  </a:moveTo>
                  <a:cubicBezTo>
                    <a:pt x="1173" y="128"/>
                    <a:pt x="1174" y="128"/>
                    <a:pt x="1175" y="128"/>
                  </a:cubicBezTo>
                  <a:moveTo>
                    <a:pt x="1175" y="128"/>
                  </a:moveTo>
                  <a:cubicBezTo>
                    <a:pt x="1175" y="130"/>
                    <a:pt x="1176" y="128"/>
                    <a:pt x="1175" y="128"/>
                  </a:cubicBezTo>
                  <a:moveTo>
                    <a:pt x="1175" y="128"/>
                  </a:moveTo>
                  <a:cubicBezTo>
                    <a:pt x="1175" y="127"/>
                    <a:pt x="1174" y="127"/>
                    <a:pt x="1173" y="127"/>
                  </a:cubicBezTo>
                  <a:moveTo>
                    <a:pt x="1173" y="127"/>
                  </a:moveTo>
                  <a:cubicBezTo>
                    <a:pt x="1150" y="112"/>
                    <a:pt x="1124" y="95"/>
                    <a:pt x="1098" y="86"/>
                  </a:cubicBezTo>
                  <a:cubicBezTo>
                    <a:pt x="1125" y="98"/>
                    <a:pt x="1141" y="120"/>
                    <a:pt x="1173" y="127"/>
                  </a:cubicBezTo>
                  <a:moveTo>
                    <a:pt x="885" y="86"/>
                  </a:moveTo>
                  <a:cubicBezTo>
                    <a:pt x="882" y="86"/>
                    <a:pt x="877" y="85"/>
                    <a:pt x="875" y="87"/>
                  </a:cubicBezTo>
                  <a:cubicBezTo>
                    <a:pt x="877" y="88"/>
                    <a:pt x="885" y="90"/>
                    <a:pt x="885" y="86"/>
                  </a:cubicBezTo>
                  <a:close/>
                  <a:moveTo>
                    <a:pt x="430" y="89"/>
                  </a:moveTo>
                  <a:cubicBezTo>
                    <a:pt x="429" y="88"/>
                    <a:pt x="430" y="89"/>
                    <a:pt x="430" y="89"/>
                  </a:cubicBezTo>
                  <a:close/>
                  <a:moveTo>
                    <a:pt x="564" y="92"/>
                  </a:moveTo>
                  <a:cubicBezTo>
                    <a:pt x="535" y="128"/>
                    <a:pt x="514" y="173"/>
                    <a:pt x="497" y="221"/>
                  </a:cubicBezTo>
                  <a:cubicBezTo>
                    <a:pt x="502" y="220"/>
                    <a:pt x="508" y="220"/>
                    <a:pt x="513" y="219"/>
                  </a:cubicBezTo>
                  <a:cubicBezTo>
                    <a:pt x="545" y="174"/>
                    <a:pt x="578" y="131"/>
                    <a:pt x="619" y="95"/>
                  </a:cubicBezTo>
                  <a:cubicBezTo>
                    <a:pt x="620" y="94"/>
                    <a:pt x="628" y="90"/>
                    <a:pt x="624" y="89"/>
                  </a:cubicBezTo>
                  <a:cubicBezTo>
                    <a:pt x="604" y="86"/>
                    <a:pt x="584" y="91"/>
                    <a:pt x="564" y="92"/>
                  </a:cubicBezTo>
                  <a:close/>
                  <a:moveTo>
                    <a:pt x="1055" y="192"/>
                  </a:moveTo>
                  <a:cubicBezTo>
                    <a:pt x="1019" y="154"/>
                    <a:pt x="980" y="120"/>
                    <a:pt x="937" y="90"/>
                  </a:cubicBezTo>
                  <a:cubicBezTo>
                    <a:pt x="922" y="89"/>
                    <a:pt x="906" y="86"/>
                    <a:pt x="893" y="90"/>
                  </a:cubicBezTo>
                  <a:cubicBezTo>
                    <a:pt x="901" y="111"/>
                    <a:pt x="911" y="126"/>
                    <a:pt x="923" y="142"/>
                  </a:cubicBezTo>
                  <a:cubicBezTo>
                    <a:pt x="942" y="166"/>
                    <a:pt x="959" y="189"/>
                    <a:pt x="973" y="216"/>
                  </a:cubicBezTo>
                  <a:cubicBezTo>
                    <a:pt x="1006" y="219"/>
                    <a:pt x="1038" y="222"/>
                    <a:pt x="1069" y="226"/>
                  </a:cubicBezTo>
                  <a:cubicBezTo>
                    <a:pt x="1065" y="214"/>
                    <a:pt x="1059" y="204"/>
                    <a:pt x="1055" y="192"/>
                  </a:cubicBezTo>
                  <a:close/>
                  <a:moveTo>
                    <a:pt x="366" y="122"/>
                  </a:moveTo>
                  <a:cubicBezTo>
                    <a:pt x="394" y="118"/>
                    <a:pt x="410" y="101"/>
                    <a:pt x="429" y="89"/>
                  </a:cubicBezTo>
                  <a:cubicBezTo>
                    <a:pt x="407" y="99"/>
                    <a:pt x="386" y="110"/>
                    <a:pt x="366" y="122"/>
                  </a:cubicBezTo>
                  <a:close/>
                  <a:moveTo>
                    <a:pt x="631" y="90"/>
                  </a:moveTo>
                  <a:cubicBezTo>
                    <a:pt x="632" y="88"/>
                    <a:pt x="629" y="90"/>
                    <a:pt x="629" y="91"/>
                  </a:cubicBezTo>
                  <a:cubicBezTo>
                    <a:pt x="589" y="125"/>
                    <a:pt x="552" y="168"/>
                    <a:pt x="523" y="212"/>
                  </a:cubicBezTo>
                  <a:cubicBezTo>
                    <a:pt x="521" y="214"/>
                    <a:pt x="517" y="216"/>
                    <a:pt x="519" y="219"/>
                  </a:cubicBezTo>
                  <a:cubicBezTo>
                    <a:pt x="554" y="215"/>
                    <a:pt x="591" y="214"/>
                    <a:pt x="629" y="212"/>
                  </a:cubicBezTo>
                  <a:cubicBezTo>
                    <a:pt x="645" y="177"/>
                    <a:pt x="650" y="130"/>
                    <a:pt x="663" y="93"/>
                  </a:cubicBezTo>
                  <a:cubicBezTo>
                    <a:pt x="653" y="91"/>
                    <a:pt x="643" y="90"/>
                    <a:pt x="631" y="90"/>
                  </a:cubicBezTo>
                  <a:close/>
                  <a:moveTo>
                    <a:pt x="899" y="111"/>
                  </a:moveTo>
                  <a:cubicBezTo>
                    <a:pt x="900" y="112"/>
                    <a:pt x="900" y="111"/>
                    <a:pt x="899" y="111"/>
                  </a:cubicBezTo>
                  <a:moveTo>
                    <a:pt x="899" y="111"/>
                  </a:moveTo>
                  <a:cubicBezTo>
                    <a:pt x="897" y="103"/>
                    <a:pt x="893" y="97"/>
                    <a:pt x="891" y="90"/>
                  </a:cubicBezTo>
                  <a:cubicBezTo>
                    <a:pt x="886" y="90"/>
                    <a:pt x="882" y="89"/>
                    <a:pt x="880" y="92"/>
                  </a:cubicBezTo>
                  <a:cubicBezTo>
                    <a:pt x="887" y="97"/>
                    <a:pt x="892" y="105"/>
                    <a:pt x="899" y="111"/>
                  </a:cubicBezTo>
                  <a:moveTo>
                    <a:pt x="943" y="91"/>
                  </a:moveTo>
                  <a:cubicBezTo>
                    <a:pt x="979" y="114"/>
                    <a:pt x="1013" y="148"/>
                    <a:pt x="1044" y="177"/>
                  </a:cubicBezTo>
                  <a:cubicBezTo>
                    <a:pt x="1045" y="178"/>
                    <a:pt x="1047" y="183"/>
                    <a:pt x="1049" y="180"/>
                  </a:cubicBezTo>
                  <a:cubicBezTo>
                    <a:pt x="1032" y="150"/>
                    <a:pt x="1014" y="120"/>
                    <a:pt x="991" y="95"/>
                  </a:cubicBezTo>
                  <a:cubicBezTo>
                    <a:pt x="975" y="94"/>
                    <a:pt x="961" y="91"/>
                    <a:pt x="943" y="91"/>
                  </a:cubicBezTo>
                  <a:moveTo>
                    <a:pt x="943" y="91"/>
                  </a:moveTo>
                  <a:cubicBezTo>
                    <a:pt x="943" y="88"/>
                    <a:pt x="939" y="92"/>
                    <a:pt x="943" y="91"/>
                  </a:cubicBezTo>
                  <a:moveTo>
                    <a:pt x="904" y="120"/>
                  </a:moveTo>
                  <a:cubicBezTo>
                    <a:pt x="894" y="111"/>
                    <a:pt x="886" y="98"/>
                    <a:pt x="874" y="91"/>
                  </a:cubicBezTo>
                  <a:cubicBezTo>
                    <a:pt x="857" y="93"/>
                    <a:pt x="838" y="94"/>
                    <a:pt x="820" y="95"/>
                  </a:cubicBezTo>
                  <a:cubicBezTo>
                    <a:pt x="835" y="132"/>
                    <a:pt x="849" y="170"/>
                    <a:pt x="860" y="211"/>
                  </a:cubicBezTo>
                  <a:cubicBezTo>
                    <a:pt x="885" y="210"/>
                    <a:pt x="907" y="212"/>
                    <a:pt x="931" y="214"/>
                  </a:cubicBezTo>
                  <a:cubicBezTo>
                    <a:pt x="924" y="180"/>
                    <a:pt x="914" y="150"/>
                    <a:pt x="904" y="120"/>
                  </a:cubicBezTo>
                  <a:close/>
                  <a:moveTo>
                    <a:pt x="558" y="93"/>
                  </a:moveTo>
                  <a:cubicBezTo>
                    <a:pt x="558" y="92"/>
                    <a:pt x="559" y="93"/>
                    <a:pt x="558" y="93"/>
                  </a:cubicBezTo>
                  <a:close/>
                  <a:moveTo>
                    <a:pt x="492" y="99"/>
                  </a:moveTo>
                  <a:cubicBezTo>
                    <a:pt x="485" y="102"/>
                    <a:pt x="476" y="109"/>
                    <a:pt x="468" y="114"/>
                  </a:cubicBezTo>
                  <a:cubicBezTo>
                    <a:pt x="460" y="119"/>
                    <a:pt x="450" y="123"/>
                    <a:pt x="444" y="128"/>
                  </a:cubicBezTo>
                  <a:cubicBezTo>
                    <a:pt x="432" y="139"/>
                    <a:pt x="420" y="155"/>
                    <a:pt x="411" y="169"/>
                  </a:cubicBezTo>
                  <a:cubicBezTo>
                    <a:pt x="400" y="185"/>
                    <a:pt x="389" y="201"/>
                    <a:pt x="382" y="216"/>
                  </a:cubicBezTo>
                  <a:cubicBezTo>
                    <a:pt x="390" y="219"/>
                    <a:pt x="399" y="220"/>
                    <a:pt x="407" y="223"/>
                  </a:cubicBezTo>
                  <a:cubicBezTo>
                    <a:pt x="452" y="175"/>
                    <a:pt x="501" y="130"/>
                    <a:pt x="558" y="93"/>
                  </a:cubicBezTo>
                  <a:cubicBezTo>
                    <a:pt x="533" y="97"/>
                    <a:pt x="512" y="93"/>
                    <a:pt x="492" y="99"/>
                  </a:cubicBezTo>
                  <a:close/>
                  <a:moveTo>
                    <a:pt x="667" y="93"/>
                  </a:moveTo>
                  <a:cubicBezTo>
                    <a:pt x="661" y="115"/>
                    <a:pt x="652" y="139"/>
                    <a:pt x="650" y="163"/>
                  </a:cubicBezTo>
                  <a:cubicBezTo>
                    <a:pt x="660" y="138"/>
                    <a:pt x="673" y="116"/>
                    <a:pt x="685" y="94"/>
                  </a:cubicBezTo>
                  <a:cubicBezTo>
                    <a:pt x="678" y="94"/>
                    <a:pt x="674" y="92"/>
                    <a:pt x="667" y="93"/>
                  </a:cubicBezTo>
                  <a:close/>
                  <a:moveTo>
                    <a:pt x="639" y="211"/>
                  </a:moveTo>
                  <a:cubicBezTo>
                    <a:pt x="674" y="211"/>
                    <a:pt x="707" y="208"/>
                    <a:pt x="743" y="209"/>
                  </a:cubicBezTo>
                  <a:cubicBezTo>
                    <a:pt x="745" y="170"/>
                    <a:pt x="747" y="132"/>
                    <a:pt x="750" y="95"/>
                  </a:cubicBezTo>
                  <a:cubicBezTo>
                    <a:pt x="729" y="96"/>
                    <a:pt x="708" y="95"/>
                    <a:pt x="689" y="94"/>
                  </a:cubicBezTo>
                  <a:cubicBezTo>
                    <a:pt x="669" y="129"/>
                    <a:pt x="646" y="162"/>
                    <a:pt x="639" y="211"/>
                  </a:cubicBezTo>
                  <a:close/>
                  <a:moveTo>
                    <a:pt x="825" y="120"/>
                  </a:moveTo>
                  <a:cubicBezTo>
                    <a:pt x="823" y="113"/>
                    <a:pt x="819" y="96"/>
                    <a:pt x="811" y="95"/>
                  </a:cubicBezTo>
                  <a:cubicBezTo>
                    <a:pt x="803" y="93"/>
                    <a:pt x="791" y="98"/>
                    <a:pt x="782" y="95"/>
                  </a:cubicBezTo>
                  <a:cubicBezTo>
                    <a:pt x="784" y="133"/>
                    <a:pt x="786" y="171"/>
                    <a:pt x="787" y="209"/>
                  </a:cubicBezTo>
                  <a:cubicBezTo>
                    <a:pt x="811" y="208"/>
                    <a:pt x="832" y="210"/>
                    <a:pt x="855" y="210"/>
                  </a:cubicBezTo>
                  <a:cubicBezTo>
                    <a:pt x="848" y="183"/>
                    <a:pt x="836" y="148"/>
                    <a:pt x="825" y="120"/>
                  </a:cubicBezTo>
                  <a:close/>
                  <a:moveTo>
                    <a:pt x="499" y="96"/>
                  </a:moveTo>
                  <a:cubicBezTo>
                    <a:pt x="499" y="96"/>
                    <a:pt x="500" y="97"/>
                    <a:pt x="499" y="96"/>
                  </a:cubicBezTo>
                  <a:close/>
                  <a:moveTo>
                    <a:pt x="752" y="98"/>
                  </a:moveTo>
                  <a:cubicBezTo>
                    <a:pt x="750" y="135"/>
                    <a:pt x="747" y="171"/>
                    <a:pt x="746" y="209"/>
                  </a:cubicBezTo>
                  <a:cubicBezTo>
                    <a:pt x="758" y="209"/>
                    <a:pt x="771" y="209"/>
                    <a:pt x="784" y="209"/>
                  </a:cubicBezTo>
                  <a:cubicBezTo>
                    <a:pt x="783" y="170"/>
                    <a:pt x="781" y="133"/>
                    <a:pt x="779" y="95"/>
                  </a:cubicBezTo>
                  <a:cubicBezTo>
                    <a:pt x="771" y="97"/>
                    <a:pt x="756" y="92"/>
                    <a:pt x="752" y="98"/>
                  </a:cubicBezTo>
                  <a:close/>
                  <a:moveTo>
                    <a:pt x="1056" y="191"/>
                  </a:moveTo>
                  <a:cubicBezTo>
                    <a:pt x="1069" y="202"/>
                    <a:pt x="1077" y="217"/>
                    <a:pt x="1090" y="228"/>
                  </a:cubicBezTo>
                  <a:cubicBezTo>
                    <a:pt x="1115" y="224"/>
                    <a:pt x="1137" y="218"/>
                    <a:pt x="1159" y="212"/>
                  </a:cubicBezTo>
                  <a:cubicBezTo>
                    <a:pt x="1152" y="199"/>
                    <a:pt x="1138" y="190"/>
                    <a:pt x="1126" y="180"/>
                  </a:cubicBezTo>
                  <a:cubicBezTo>
                    <a:pt x="1101" y="159"/>
                    <a:pt x="1078" y="141"/>
                    <a:pt x="1049" y="122"/>
                  </a:cubicBezTo>
                  <a:cubicBezTo>
                    <a:pt x="1032" y="112"/>
                    <a:pt x="1016" y="96"/>
                    <a:pt x="996" y="96"/>
                  </a:cubicBezTo>
                  <a:cubicBezTo>
                    <a:pt x="1020" y="124"/>
                    <a:pt x="1040" y="155"/>
                    <a:pt x="1056" y="191"/>
                  </a:cubicBezTo>
                  <a:close/>
                  <a:moveTo>
                    <a:pt x="1095" y="150"/>
                  </a:moveTo>
                  <a:cubicBezTo>
                    <a:pt x="1112" y="165"/>
                    <a:pt x="1132" y="180"/>
                    <a:pt x="1149" y="195"/>
                  </a:cubicBezTo>
                  <a:cubicBezTo>
                    <a:pt x="1154" y="200"/>
                    <a:pt x="1159" y="209"/>
                    <a:pt x="1167" y="209"/>
                  </a:cubicBezTo>
                  <a:cubicBezTo>
                    <a:pt x="1146" y="171"/>
                    <a:pt x="1113" y="136"/>
                    <a:pt x="1081" y="107"/>
                  </a:cubicBezTo>
                  <a:cubicBezTo>
                    <a:pt x="1060" y="104"/>
                    <a:pt x="1036" y="99"/>
                    <a:pt x="1015" y="98"/>
                  </a:cubicBezTo>
                  <a:cubicBezTo>
                    <a:pt x="1044" y="113"/>
                    <a:pt x="1069" y="132"/>
                    <a:pt x="1095" y="150"/>
                  </a:cubicBezTo>
                  <a:close/>
                  <a:moveTo>
                    <a:pt x="555" y="99"/>
                  </a:moveTo>
                  <a:cubicBezTo>
                    <a:pt x="506" y="130"/>
                    <a:pt x="457" y="172"/>
                    <a:pt x="418" y="216"/>
                  </a:cubicBezTo>
                  <a:cubicBezTo>
                    <a:pt x="417" y="218"/>
                    <a:pt x="411" y="220"/>
                    <a:pt x="414" y="224"/>
                  </a:cubicBezTo>
                  <a:cubicBezTo>
                    <a:pt x="438" y="232"/>
                    <a:pt x="467" y="223"/>
                    <a:pt x="494" y="221"/>
                  </a:cubicBezTo>
                  <a:cubicBezTo>
                    <a:pt x="510" y="176"/>
                    <a:pt x="530" y="135"/>
                    <a:pt x="555" y="99"/>
                  </a:cubicBezTo>
                  <a:moveTo>
                    <a:pt x="555" y="99"/>
                  </a:moveTo>
                  <a:cubicBezTo>
                    <a:pt x="556" y="99"/>
                    <a:pt x="555" y="98"/>
                    <a:pt x="555" y="99"/>
                  </a:cubicBezTo>
                  <a:moveTo>
                    <a:pt x="484" y="101"/>
                  </a:moveTo>
                  <a:cubicBezTo>
                    <a:pt x="483" y="101"/>
                    <a:pt x="484" y="102"/>
                    <a:pt x="484" y="101"/>
                  </a:cubicBezTo>
                  <a:close/>
                  <a:moveTo>
                    <a:pt x="1118" y="101"/>
                  </a:moveTo>
                  <a:cubicBezTo>
                    <a:pt x="1119" y="103"/>
                    <a:pt x="1119" y="101"/>
                    <a:pt x="1118" y="101"/>
                  </a:cubicBezTo>
                  <a:moveTo>
                    <a:pt x="1118" y="101"/>
                  </a:moveTo>
                  <a:cubicBezTo>
                    <a:pt x="1118" y="100"/>
                    <a:pt x="1117" y="101"/>
                    <a:pt x="1118" y="101"/>
                  </a:cubicBezTo>
                  <a:moveTo>
                    <a:pt x="454" y="119"/>
                  </a:moveTo>
                  <a:cubicBezTo>
                    <a:pt x="452" y="119"/>
                    <a:pt x="454" y="120"/>
                    <a:pt x="454" y="119"/>
                  </a:cubicBezTo>
                  <a:moveTo>
                    <a:pt x="454" y="119"/>
                  </a:moveTo>
                  <a:cubicBezTo>
                    <a:pt x="464" y="113"/>
                    <a:pt x="474" y="108"/>
                    <a:pt x="483" y="101"/>
                  </a:cubicBezTo>
                  <a:cubicBezTo>
                    <a:pt x="466" y="100"/>
                    <a:pt x="462" y="111"/>
                    <a:pt x="454" y="119"/>
                  </a:cubicBezTo>
                  <a:moveTo>
                    <a:pt x="1120" y="103"/>
                  </a:moveTo>
                  <a:cubicBezTo>
                    <a:pt x="1120" y="103"/>
                    <a:pt x="1121" y="104"/>
                    <a:pt x="1120" y="103"/>
                  </a:cubicBezTo>
                  <a:close/>
                  <a:moveTo>
                    <a:pt x="1075" y="104"/>
                  </a:moveTo>
                  <a:cubicBezTo>
                    <a:pt x="1075" y="104"/>
                    <a:pt x="1076" y="105"/>
                    <a:pt x="1075" y="104"/>
                  </a:cubicBezTo>
                  <a:close/>
                  <a:moveTo>
                    <a:pt x="417" y="112"/>
                  </a:moveTo>
                  <a:cubicBezTo>
                    <a:pt x="407" y="115"/>
                    <a:pt x="396" y="125"/>
                    <a:pt x="386" y="131"/>
                  </a:cubicBezTo>
                  <a:cubicBezTo>
                    <a:pt x="357" y="148"/>
                    <a:pt x="335" y="165"/>
                    <a:pt x="317" y="191"/>
                  </a:cubicBezTo>
                  <a:cubicBezTo>
                    <a:pt x="325" y="195"/>
                    <a:pt x="332" y="200"/>
                    <a:pt x="342" y="203"/>
                  </a:cubicBezTo>
                  <a:cubicBezTo>
                    <a:pt x="374" y="176"/>
                    <a:pt x="406" y="149"/>
                    <a:pt x="442" y="127"/>
                  </a:cubicBezTo>
                  <a:cubicBezTo>
                    <a:pt x="445" y="123"/>
                    <a:pt x="449" y="119"/>
                    <a:pt x="453" y="115"/>
                  </a:cubicBezTo>
                  <a:cubicBezTo>
                    <a:pt x="455" y="112"/>
                    <a:pt x="466" y="105"/>
                    <a:pt x="461" y="104"/>
                  </a:cubicBezTo>
                  <a:cubicBezTo>
                    <a:pt x="446" y="109"/>
                    <a:pt x="430" y="107"/>
                    <a:pt x="417" y="112"/>
                  </a:cubicBezTo>
                  <a:close/>
                  <a:moveTo>
                    <a:pt x="1210" y="188"/>
                  </a:moveTo>
                  <a:cubicBezTo>
                    <a:pt x="1213" y="187"/>
                    <a:pt x="1214" y="184"/>
                    <a:pt x="1216" y="183"/>
                  </a:cubicBezTo>
                  <a:cubicBezTo>
                    <a:pt x="1210" y="171"/>
                    <a:pt x="1197" y="162"/>
                    <a:pt x="1185" y="152"/>
                  </a:cubicBezTo>
                  <a:cubicBezTo>
                    <a:pt x="1175" y="143"/>
                    <a:pt x="1164" y="130"/>
                    <a:pt x="1151" y="123"/>
                  </a:cubicBezTo>
                  <a:cubicBezTo>
                    <a:pt x="1135" y="116"/>
                    <a:pt x="1116" y="117"/>
                    <a:pt x="1097" y="110"/>
                  </a:cubicBezTo>
                  <a:cubicBezTo>
                    <a:pt x="1096" y="110"/>
                    <a:pt x="1094" y="110"/>
                    <a:pt x="1094" y="111"/>
                  </a:cubicBezTo>
                  <a:cubicBezTo>
                    <a:pt x="1136" y="132"/>
                    <a:pt x="1174" y="163"/>
                    <a:pt x="1210" y="188"/>
                  </a:cubicBezTo>
                  <a:close/>
                  <a:moveTo>
                    <a:pt x="1090" y="112"/>
                  </a:moveTo>
                  <a:cubicBezTo>
                    <a:pt x="1090" y="112"/>
                    <a:pt x="1090" y="113"/>
                    <a:pt x="1090" y="113"/>
                  </a:cubicBezTo>
                  <a:cubicBezTo>
                    <a:pt x="1124" y="138"/>
                    <a:pt x="1146" y="175"/>
                    <a:pt x="1173" y="207"/>
                  </a:cubicBezTo>
                  <a:cubicBezTo>
                    <a:pt x="1185" y="202"/>
                    <a:pt x="1198" y="198"/>
                    <a:pt x="1206" y="190"/>
                  </a:cubicBezTo>
                  <a:cubicBezTo>
                    <a:pt x="1170" y="161"/>
                    <a:pt x="1132" y="134"/>
                    <a:pt x="1090" y="112"/>
                  </a:cubicBezTo>
                  <a:moveTo>
                    <a:pt x="1090" y="112"/>
                  </a:moveTo>
                  <a:cubicBezTo>
                    <a:pt x="1090" y="110"/>
                    <a:pt x="1089" y="112"/>
                    <a:pt x="1090" y="112"/>
                  </a:cubicBezTo>
                  <a:moveTo>
                    <a:pt x="405" y="116"/>
                  </a:moveTo>
                  <a:cubicBezTo>
                    <a:pt x="389" y="116"/>
                    <a:pt x="383" y="126"/>
                    <a:pt x="374" y="134"/>
                  </a:cubicBezTo>
                  <a:moveTo>
                    <a:pt x="374" y="134"/>
                  </a:moveTo>
                  <a:cubicBezTo>
                    <a:pt x="373" y="134"/>
                    <a:pt x="372" y="135"/>
                    <a:pt x="371" y="136"/>
                  </a:cubicBezTo>
                  <a:moveTo>
                    <a:pt x="371" y="136"/>
                  </a:moveTo>
                  <a:cubicBezTo>
                    <a:pt x="370" y="136"/>
                    <a:pt x="370" y="136"/>
                    <a:pt x="370" y="137"/>
                  </a:cubicBezTo>
                  <a:moveTo>
                    <a:pt x="370" y="137"/>
                  </a:moveTo>
                  <a:cubicBezTo>
                    <a:pt x="369" y="137"/>
                    <a:pt x="370" y="138"/>
                    <a:pt x="370" y="137"/>
                  </a:cubicBezTo>
                  <a:moveTo>
                    <a:pt x="370" y="137"/>
                  </a:moveTo>
                  <a:cubicBezTo>
                    <a:pt x="371" y="137"/>
                    <a:pt x="371" y="136"/>
                    <a:pt x="371" y="136"/>
                  </a:cubicBezTo>
                  <a:moveTo>
                    <a:pt x="371" y="136"/>
                  </a:moveTo>
                  <a:cubicBezTo>
                    <a:pt x="373" y="136"/>
                    <a:pt x="374" y="135"/>
                    <a:pt x="374" y="134"/>
                  </a:cubicBezTo>
                  <a:moveTo>
                    <a:pt x="374" y="134"/>
                  </a:moveTo>
                  <a:cubicBezTo>
                    <a:pt x="385" y="129"/>
                    <a:pt x="395" y="122"/>
                    <a:pt x="405" y="116"/>
                  </a:cubicBezTo>
                  <a:moveTo>
                    <a:pt x="405" y="116"/>
                  </a:moveTo>
                  <a:cubicBezTo>
                    <a:pt x="409" y="117"/>
                    <a:pt x="405" y="113"/>
                    <a:pt x="405" y="116"/>
                  </a:cubicBezTo>
                  <a:moveTo>
                    <a:pt x="1142" y="119"/>
                  </a:moveTo>
                  <a:cubicBezTo>
                    <a:pt x="1142" y="118"/>
                    <a:pt x="1143" y="119"/>
                    <a:pt x="1142" y="119"/>
                  </a:cubicBezTo>
                  <a:close/>
                  <a:moveTo>
                    <a:pt x="365" y="119"/>
                  </a:moveTo>
                  <a:cubicBezTo>
                    <a:pt x="364" y="119"/>
                    <a:pt x="365" y="120"/>
                    <a:pt x="365" y="119"/>
                  </a:cubicBezTo>
                  <a:close/>
                  <a:moveTo>
                    <a:pt x="363" y="120"/>
                  </a:moveTo>
                  <a:cubicBezTo>
                    <a:pt x="361" y="121"/>
                    <a:pt x="363" y="122"/>
                    <a:pt x="363" y="120"/>
                  </a:cubicBezTo>
                  <a:moveTo>
                    <a:pt x="363" y="120"/>
                  </a:moveTo>
                  <a:cubicBezTo>
                    <a:pt x="364" y="120"/>
                    <a:pt x="363" y="119"/>
                    <a:pt x="363" y="120"/>
                  </a:cubicBezTo>
                  <a:moveTo>
                    <a:pt x="326" y="147"/>
                  </a:moveTo>
                  <a:cubicBezTo>
                    <a:pt x="312" y="157"/>
                    <a:pt x="291" y="166"/>
                    <a:pt x="308" y="182"/>
                  </a:cubicBezTo>
                  <a:cubicBezTo>
                    <a:pt x="333" y="161"/>
                    <a:pt x="362" y="143"/>
                    <a:pt x="385" y="120"/>
                  </a:cubicBezTo>
                  <a:cubicBezTo>
                    <a:pt x="360" y="124"/>
                    <a:pt x="343" y="136"/>
                    <a:pt x="326" y="147"/>
                  </a:cubicBezTo>
                  <a:close/>
                  <a:moveTo>
                    <a:pt x="360" y="122"/>
                  </a:moveTo>
                  <a:cubicBezTo>
                    <a:pt x="359" y="122"/>
                    <a:pt x="360" y="123"/>
                    <a:pt x="360" y="122"/>
                  </a:cubicBezTo>
                  <a:close/>
                  <a:moveTo>
                    <a:pt x="365" y="123"/>
                  </a:moveTo>
                  <a:cubicBezTo>
                    <a:pt x="364" y="123"/>
                    <a:pt x="365" y="124"/>
                    <a:pt x="365" y="123"/>
                  </a:cubicBezTo>
                  <a:close/>
                  <a:moveTo>
                    <a:pt x="357" y="124"/>
                  </a:moveTo>
                  <a:cubicBezTo>
                    <a:pt x="356" y="124"/>
                    <a:pt x="358" y="125"/>
                    <a:pt x="357" y="124"/>
                  </a:cubicBezTo>
                  <a:close/>
                  <a:moveTo>
                    <a:pt x="354" y="126"/>
                  </a:moveTo>
                  <a:cubicBezTo>
                    <a:pt x="354" y="126"/>
                    <a:pt x="355" y="127"/>
                    <a:pt x="354" y="126"/>
                  </a:cubicBezTo>
                  <a:close/>
                  <a:moveTo>
                    <a:pt x="910" y="129"/>
                  </a:moveTo>
                  <a:cubicBezTo>
                    <a:pt x="919" y="156"/>
                    <a:pt x="927" y="184"/>
                    <a:pt x="934" y="214"/>
                  </a:cubicBezTo>
                  <a:cubicBezTo>
                    <a:pt x="946" y="215"/>
                    <a:pt x="959" y="215"/>
                    <a:pt x="970" y="216"/>
                  </a:cubicBezTo>
                  <a:cubicBezTo>
                    <a:pt x="952" y="185"/>
                    <a:pt x="933" y="155"/>
                    <a:pt x="910" y="129"/>
                  </a:cubicBezTo>
                  <a:moveTo>
                    <a:pt x="910" y="129"/>
                  </a:moveTo>
                  <a:cubicBezTo>
                    <a:pt x="911" y="125"/>
                    <a:pt x="907" y="129"/>
                    <a:pt x="910" y="129"/>
                  </a:cubicBezTo>
                  <a:moveTo>
                    <a:pt x="1166" y="129"/>
                  </a:moveTo>
                  <a:cubicBezTo>
                    <a:pt x="1166" y="129"/>
                    <a:pt x="1167" y="130"/>
                    <a:pt x="1166" y="129"/>
                  </a:cubicBezTo>
                  <a:close/>
                  <a:moveTo>
                    <a:pt x="1222" y="166"/>
                  </a:moveTo>
                  <a:cubicBezTo>
                    <a:pt x="1218" y="155"/>
                    <a:pt x="1206" y="150"/>
                    <a:pt x="1198" y="144"/>
                  </a:cubicBezTo>
                  <a:cubicBezTo>
                    <a:pt x="1189" y="138"/>
                    <a:pt x="1180" y="130"/>
                    <a:pt x="1168" y="130"/>
                  </a:cubicBezTo>
                  <a:cubicBezTo>
                    <a:pt x="1187" y="141"/>
                    <a:pt x="1204" y="154"/>
                    <a:pt x="1222" y="166"/>
                  </a:cubicBezTo>
                  <a:close/>
                  <a:moveTo>
                    <a:pt x="1165" y="132"/>
                  </a:moveTo>
                  <a:cubicBezTo>
                    <a:pt x="1166" y="133"/>
                    <a:pt x="1165" y="132"/>
                    <a:pt x="1165" y="132"/>
                  </a:cubicBezTo>
                  <a:close/>
                  <a:moveTo>
                    <a:pt x="1169" y="134"/>
                  </a:moveTo>
                  <a:cubicBezTo>
                    <a:pt x="1187" y="147"/>
                    <a:pt x="1204" y="167"/>
                    <a:pt x="1220" y="178"/>
                  </a:cubicBezTo>
                  <a:cubicBezTo>
                    <a:pt x="1220" y="175"/>
                    <a:pt x="1223" y="174"/>
                    <a:pt x="1222" y="170"/>
                  </a:cubicBezTo>
                  <a:cubicBezTo>
                    <a:pt x="1206" y="157"/>
                    <a:pt x="1188" y="145"/>
                    <a:pt x="1169" y="134"/>
                  </a:cubicBezTo>
                  <a:moveTo>
                    <a:pt x="1169" y="134"/>
                  </a:moveTo>
                  <a:cubicBezTo>
                    <a:pt x="1168" y="132"/>
                    <a:pt x="1168" y="134"/>
                    <a:pt x="1169" y="134"/>
                  </a:cubicBezTo>
                  <a:moveTo>
                    <a:pt x="434" y="136"/>
                  </a:moveTo>
                  <a:cubicBezTo>
                    <a:pt x="433" y="136"/>
                    <a:pt x="433" y="136"/>
                    <a:pt x="433" y="137"/>
                  </a:cubicBezTo>
                  <a:moveTo>
                    <a:pt x="433" y="137"/>
                  </a:moveTo>
                  <a:cubicBezTo>
                    <a:pt x="401" y="157"/>
                    <a:pt x="372" y="180"/>
                    <a:pt x="345" y="205"/>
                  </a:cubicBezTo>
                  <a:cubicBezTo>
                    <a:pt x="356" y="209"/>
                    <a:pt x="367" y="213"/>
                    <a:pt x="379" y="215"/>
                  </a:cubicBezTo>
                  <a:cubicBezTo>
                    <a:pt x="394" y="187"/>
                    <a:pt x="413" y="162"/>
                    <a:pt x="433" y="137"/>
                  </a:cubicBezTo>
                  <a:moveTo>
                    <a:pt x="433" y="137"/>
                  </a:moveTo>
                  <a:cubicBezTo>
                    <a:pt x="434" y="137"/>
                    <a:pt x="434" y="136"/>
                    <a:pt x="434" y="136"/>
                  </a:cubicBezTo>
                  <a:moveTo>
                    <a:pt x="434" y="136"/>
                  </a:moveTo>
                  <a:cubicBezTo>
                    <a:pt x="435" y="135"/>
                    <a:pt x="434" y="135"/>
                    <a:pt x="434" y="136"/>
                  </a:cubicBezTo>
                  <a:moveTo>
                    <a:pt x="327" y="142"/>
                  </a:moveTo>
                  <a:cubicBezTo>
                    <a:pt x="327" y="141"/>
                    <a:pt x="328" y="142"/>
                    <a:pt x="327" y="142"/>
                  </a:cubicBezTo>
                  <a:close/>
                  <a:moveTo>
                    <a:pt x="325" y="143"/>
                  </a:moveTo>
                  <a:cubicBezTo>
                    <a:pt x="319" y="146"/>
                    <a:pt x="312" y="150"/>
                    <a:pt x="308" y="156"/>
                  </a:cubicBezTo>
                  <a:moveTo>
                    <a:pt x="308" y="156"/>
                  </a:moveTo>
                  <a:cubicBezTo>
                    <a:pt x="307" y="156"/>
                    <a:pt x="307" y="156"/>
                    <a:pt x="307" y="157"/>
                  </a:cubicBezTo>
                  <a:moveTo>
                    <a:pt x="307" y="157"/>
                  </a:moveTo>
                  <a:cubicBezTo>
                    <a:pt x="306" y="157"/>
                    <a:pt x="306" y="157"/>
                    <a:pt x="306" y="158"/>
                  </a:cubicBezTo>
                  <a:moveTo>
                    <a:pt x="306" y="158"/>
                  </a:moveTo>
                  <a:cubicBezTo>
                    <a:pt x="305" y="158"/>
                    <a:pt x="306" y="159"/>
                    <a:pt x="306" y="158"/>
                  </a:cubicBezTo>
                  <a:moveTo>
                    <a:pt x="306" y="158"/>
                  </a:moveTo>
                  <a:cubicBezTo>
                    <a:pt x="307" y="158"/>
                    <a:pt x="307" y="158"/>
                    <a:pt x="307" y="157"/>
                  </a:cubicBezTo>
                  <a:moveTo>
                    <a:pt x="307" y="157"/>
                  </a:moveTo>
                  <a:cubicBezTo>
                    <a:pt x="308" y="157"/>
                    <a:pt x="308" y="157"/>
                    <a:pt x="308" y="156"/>
                  </a:cubicBezTo>
                  <a:moveTo>
                    <a:pt x="308" y="156"/>
                  </a:moveTo>
                  <a:cubicBezTo>
                    <a:pt x="314" y="152"/>
                    <a:pt x="320" y="147"/>
                    <a:pt x="325" y="143"/>
                  </a:cubicBezTo>
                  <a:moveTo>
                    <a:pt x="325" y="143"/>
                  </a:moveTo>
                  <a:cubicBezTo>
                    <a:pt x="327" y="142"/>
                    <a:pt x="325" y="141"/>
                    <a:pt x="325" y="143"/>
                  </a:cubicBezTo>
                  <a:moveTo>
                    <a:pt x="338" y="163"/>
                  </a:moveTo>
                  <a:cubicBezTo>
                    <a:pt x="337" y="163"/>
                    <a:pt x="337" y="163"/>
                    <a:pt x="337" y="164"/>
                  </a:cubicBezTo>
                  <a:moveTo>
                    <a:pt x="337" y="164"/>
                  </a:moveTo>
                  <a:cubicBezTo>
                    <a:pt x="327" y="170"/>
                    <a:pt x="317" y="176"/>
                    <a:pt x="310" y="185"/>
                  </a:cubicBezTo>
                  <a:cubicBezTo>
                    <a:pt x="312" y="185"/>
                    <a:pt x="312" y="188"/>
                    <a:pt x="315" y="188"/>
                  </a:cubicBezTo>
                  <a:cubicBezTo>
                    <a:pt x="322" y="180"/>
                    <a:pt x="330" y="172"/>
                    <a:pt x="337" y="164"/>
                  </a:cubicBezTo>
                  <a:moveTo>
                    <a:pt x="337" y="164"/>
                  </a:moveTo>
                  <a:cubicBezTo>
                    <a:pt x="338" y="164"/>
                    <a:pt x="338" y="163"/>
                    <a:pt x="338" y="163"/>
                  </a:cubicBezTo>
                  <a:moveTo>
                    <a:pt x="338" y="163"/>
                  </a:moveTo>
                  <a:cubicBezTo>
                    <a:pt x="339" y="162"/>
                    <a:pt x="338" y="162"/>
                    <a:pt x="338" y="163"/>
                  </a:cubicBezTo>
                  <a:moveTo>
                    <a:pt x="648" y="165"/>
                  </a:moveTo>
                  <a:cubicBezTo>
                    <a:pt x="647" y="164"/>
                    <a:pt x="648" y="165"/>
                    <a:pt x="648" y="165"/>
                  </a:cubicBezTo>
                  <a:close/>
                  <a:moveTo>
                    <a:pt x="1279" y="213"/>
                  </a:moveTo>
                  <a:cubicBezTo>
                    <a:pt x="1279" y="213"/>
                    <a:pt x="1280" y="214"/>
                    <a:pt x="1280" y="214"/>
                  </a:cubicBezTo>
                  <a:moveTo>
                    <a:pt x="1280" y="214"/>
                  </a:moveTo>
                  <a:cubicBezTo>
                    <a:pt x="1280" y="214"/>
                    <a:pt x="1281" y="214"/>
                    <a:pt x="1281" y="215"/>
                  </a:cubicBezTo>
                  <a:moveTo>
                    <a:pt x="1281" y="215"/>
                  </a:moveTo>
                  <a:cubicBezTo>
                    <a:pt x="1281" y="215"/>
                    <a:pt x="1282" y="215"/>
                    <a:pt x="1282" y="215"/>
                  </a:cubicBezTo>
                  <a:moveTo>
                    <a:pt x="1282" y="215"/>
                  </a:moveTo>
                  <a:cubicBezTo>
                    <a:pt x="1282" y="216"/>
                    <a:pt x="1283" y="216"/>
                    <a:pt x="1283" y="216"/>
                  </a:cubicBezTo>
                  <a:moveTo>
                    <a:pt x="1283" y="216"/>
                  </a:moveTo>
                  <a:cubicBezTo>
                    <a:pt x="1283" y="217"/>
                    <a:pt x="1284" y="217"/>
                    <a:pt x="1284" y="217"/>
                  </a:cubicBezTo>
                  <a:moveTo>
                    <a:pt x="1284" y="217"/>
                  </a:moveTo>
                  <a:cubicBezTo>
                    <a:pt x="1284" y="218"/>
                    <a:pt x="1285" y="218"/>
                    <a:pt x="1285" y="218"/>
                  </a:cubicBezTo>
                  <a:moveTo>
                    <a:pt x="1285" y="218"/>
                  </a:moveTo>
                  <a:cubicBezTo>
                    <a:pt x="1285" y="219"/>
                    <a:pt x="1286" y="219"/>
                    <a:pt x="1286" y="219"/>
                  </a:cubicBezTo>
                  <a:moveTo>
                    <a:pt x="1286" y="219"/>
                  </a:moveTo>
                  <a:cubicBezTo>
                    <a:pt x="1286" y="220"/>
                    <a:pt x="1287" y="220"/>
                    <a:pt x="1287" y="220"/>
                  </a:cubicBezTo>
                  <a:moveTo>
                    <a:pt x="1287" y="220"/>
                  </a:moveTo>
                  <a:cubicBezTo>
                    <a:pt x="1288" y="222"/>
                    <a:pt x="1288" y="220"/>
                    <a:pt x="1287" y="220"/>
                  </a:cubicBezTo>
                  <a:moveTo>
                    <a:pt x="1287" y="220"/>
                  </a:moveTo>
                  <a:cubicBezTo>
                    <a:pt x="1287" y="219"/>
                    <a:pt x="1287" y="219"/>
                    <a:pt x="1286" y="219"/>
                  </a:cubicBezTo>
                  <a:moveTo>
                    <a:pt x="1286" y="219"/>
                  </a:moveTo>
                  <a:cubicBezTo>
                    <a:pt x="1286" y="219"/>
                    <a:pt x="1286" y="218"/>
                    <a:pt x="1285" y="218"/>
                  </a:cubicBezTo>
                  <a:moveTo>
                    <a:pt x="1285" y="218"/>
                  </a:moveTo>
                  <a:cubicBezTo>
                    <a:pt x="1285" y="218"/>
                    <a:pt x="1285" y="217"/>
                    <a:pt x="1284" y="217"/>
                  </a:cubicBezTo>
                  <a:moveTo>
                    <a:pt x="1284" y="217"/>
                  </a:moveTo>
                  <a:cubicBezTo>
                    <a:pt x="1284" y="217"/>
                    <a:pt x="1284" y="216"/>
                    <a:pt x="1283" y="216"/>
                  </a:cubicBezTo>
                  <a:moveTo>
                    <a:pt x="1283" y="216"/>
                  </a:moveTo>
                  <a:cubicBezTo>
                    <a:pt x="1283" y="216"/>
                    <a:pt x="1283" y="216"/>
                    <a:pt x="1282" y="215"/>
                  </a:cubicBezTo>
                  <a:moveTo>
                    <a:pt x="1282" y="215"/>
                  </a:moveTo>
                  <a:cubicBezTo>
                    <a:pt x="1282" y="215"/>
                    <a:pt x="1282" y="215"/>
                    <a:pt x="1281" y="215"/>
                  </a:cubicBezTo>
                  <a:moveTo>
                    <a:pt x="1281" y="215"/>
                  </a:moveTo>
                  <a:cubicBezTo>
                    <a:pt x="1282" y="214"/>
                    <a:pt x="1281" y="214"/>
                    <a:pt x="1280" y="214"/>
                  </a:cubicBezTo>
                  <a:moveTo>
                    <a:pt x="1280" y="214"/>
                  </a:moveTo>
                  <a:cubicBezTo>
                    <a:pt x="1281" y="213"/>
                    <a:pt x="1280" y="213"/>
                    <a:pt x="1279" y="213"/>
                  </a:cubicBezTo>
                  <a:moveTo>
                    <a:pt x="1279" y="213"/>
                  </a:moveTo>
                  <a:cubicBezTo>
                    <a:pt x="1262" y="195"/>
                    <a:pt x="1245" y="179"/>
                    <a:pt x="1225" y="165"/>
                  </a:cubicBezTo>
                  <a:cubicBezTo>
                    <a:pt x="1226" y="171"/>
                    <a:pt x="1233" y="175"/>
                    <a:pt x="1237" y="178"/>
                  </a:cubicBezTo>
                  <a:cubicBezTo>
                    <a:pt x="1251" y="189"/>
                    <a:pt x="1265" y="201"/>
                    <a:pt x="1279" y="213"/>
                  </a:cubicBezTo>
                  <a:moveTo>
                    <a:pt x="188" y="288"/>
                  </a:moveTo>
                  <a:cubicBezTo>
                    <a:pt x="205" y="283"/>
                    <a:pt x="212" y="269"/>
                    <a:pt x="223" y="257"/>
                  </a:cubicBezTo>
                  <a:cubicBezTo>
                    <a:pt x="250" y="230"/>
                    <a:pt x="277" y="206"/>
                    <a:pt x="305" y="183"/>
                  </a:cubicBezTo>
                  <a:cubicBezTo>
                    <a:pt x="301" y="179"/>
                    <a:pt x="300" y="173"/>
                    <a:pt x="298" y="167"/>
                  </a:cubicBezTo>
                  <a:cubicBezTo>
                    <a:pt x="257" y="204"/>
                    <a:pt x="219" y="243"/>
                    <a:pt x="188" y="288"/>
                  </a:cubicBezTo>
                  <a:close/>
                  <a:moveTo>
                    <a:pt x="1351" y="296"/>
                  </a:moveTo>
                  <a:cubicBezTo>
                    <a:pt x="1351" y="297"/>
                    <a:pt x="1352" y="297"/>
                    <a:pt x="1352" y="297"/>
                  </a:cubicBezTo>
                  <a:moveTo>
                    <a:pt x="1352" y="297"/>
                  </a:moveTo>
                  <a:cubicBezTo>
                    <a:pt x="1353" y="298"/>
                    <a:pt x="1354" y="297"/>
                    <a:pt x="1352" y="297"/>
                  </a:cubicBezTo>
                  <a:moveTo>
                    <a:pt x="1352" y="297"/>
                  </a:moveTo>
                  <a:cubicBezTo>
                    <a:pt x="1353" y="296"/>
                    <a:pt x="1352" y="296"/>
                    <a:pt x="1351" y="296"/>
                  </a:cubicBezTo>
                  <a:moveTo>
                    <a:pt x="1351" y="296"/>
                  </a:moveTo>
                  <a:cubicBezTo>
                    <a:pt x="1351" y="295"/>
                    <a:pt x="1351" y="293"/>
                    <a:pt x="1350" y="293"/>
                  </a:cubicBezTo>
                  <a:cubicBezTo>
                    <a:pt x="1320" y="252"/>
                    <a:pt x="1281" y="217"/>
                    <a:pt x="1241" y="185"/>
                  </a:cubicBezTo>
                  <a:cubicBezTo>
                    <a:pt x="1236" y="181"/>
                    <a:pt x="1231" y="174"/>
                    <a:pt x="1224" y="173"/>
                  </a:cubicBezTo>
                  <a:cubicBezTo>
                    <a:pt x="1218" y="183"/>
                    <a:pt x="1228" y="188"/>
                    <a:pt x="1233" y="194"/>
                  </a:cubicBezTo>
                  <a:cubicBezTo>
                    <a:pt x="1239" y="201"/>
                    <a:pt x="1244" y="208"/>
                    <a:pt x="1250" y="214"/>
                  </a:cubicBezTo>
                  <a:cubicBezTo>
                    <a:pt x="1267" y="233"/>
                    <a:pt x="1280" y="256"/>
                    <a:pt x="1300" y="274"/>
                  </a:cubicBezTo>
                  <a:cubicBezTo>
                    <a:pt x="1319" y="279"/>
                    <a:pt x="1335" y="288"/>
                    <a:pt x="1351" y="296"/>
                  </a:cubicBezTo>
                  <a:moveTo>
                    <a:pt x="1218" y="184"/>
                  </a:moveTo>
                  <a:cubicBezTo>
                    <a:pt x="1217" y="187"/>
                    <a:pt x="1213" y="188"/>
                    <a:pt x="1211" y="191"/>
                  </a:cubicBezTo>
                  <a:cubicBezTo>
                    <a:pt x="1231" y="205"/>
                    <a:pt x="1249" y="226"/>
                    <a:pt x="1267" y="239"/>
                  </a:cubicBezTo>
                  <a:cubicBezTo>
                    <a:pt x="1250" y="220"/>
                    <a:pt x="1237" y="199"/>
                    <a:pt x="1218" y="184"/>
                  </a:cubicBezTo>
                  <a:close/>
                  <a:moveTo>
                    <a:pt x="207" y="280"/>
                  </a:moveTo>
                  <a:cubicBezTo>
                    <a:pt x="206" y="280"/>
                    <a:pt x="207" y="281"/>
                    <a:pt x="207" y="280"/>
                  </a:cubicBezTo>
                  <a:moveTo>
                    <a:pt x="207" y="280"/>
                  </a:moveTo>
                  <a:cubicBezTo>
                    <a:pt x="225" y="274"/>
                    <a:pt x="241" y="267"/>
                    <a:pt x="260" y="263"/>
                  </a:cubicBezTo>
                  <a:cubicBezTo>
                    <a:pt x="272" y="244"/>
                    <a:pt x="285" y="224"/>
                    <a:pt x="299" y="206"/>
                  </a:cubicBezTo>
                  <a:cubicBezTo>
                    <a:pt x="304" y="200"/>
                    <a:pt x="311" y="196"/>
                    <a:pt x="312" y="189"/>
                  </a:cubicBezTo>
                  <a:cubicBezTo>
                    <a:pt x="306" y="183"/>
                    <a:pt x="301" y="190"/>
                    <a:pt x="297" y="193"/>
                  </a:cubicBezTo>
                  <a:cubicBezTo>
                    <a:pt x="268" y="218"/>
                    <a:pt x="231" y="250"/>
                    <a:pt x="207" y="280"/>
                  </a:cubicBezTo>
                  <a:moveTo>
                    <a:pt x="267" y="192"/>
                  </a:moveTo>
                  <a:cubicBezTo>
                    <a:pt x="266" y="192"/>
                    <a:pt x="266" y="193"/>
                    <a:pt x="266" y="193"/>
                  </a:cubicBezTo>
                  <a:moveTo>
                    <a:pt x="266" y="193"/>
                  </a:moveTo>
                  <a:cubicBezTo>
                    <a:pt x="265" y="193"/>
                    <a:pt x="265" y="194"/>
                    <a:pt x="265" y="194"/>
                  </a:cubicBezTo>
                  <a:moveTo>
                    <a:pt x="265" y="194"/>
                  </a:moveTo>
                  <a:cubicBezTo>
                    <a:pt x="264" y="194"/>
                    <a:pt x="264" y="195"/>
                    <a:pt x="264" y="195"/>
                  </a:cubicBezTo>
                  <a:moveTo>
                    <a:pt x="264" y="195"/>
                  </a:moveTo>
                  <a:cubicBezTo>
                    <a:pt x="263" y="195"/>
                    <a:pt x="263" y="196"/>
                    <a:pt x="263" y="196"/>
                  </a:cubicBezTo>
                  <a:moveTo>
                    <a:pt x="263" y="196"/>
                  </a:moveTo>
                  <a:cubicBezTo>
                    <a:pt x="262" y="196"/>
                    <a:pt x="262" y="197"/>
                    <a:pt x="262" y="197"/>
                  </a:cubicBezTo>
                  <a:moveTo>
                    <a:pt x="262" y="197"/>
                  </a:moveTo>
                  <a:cubicBezTo>
                    <a:pt x="261" y="197"/>
                    <a:pt x="261" y="198"/>
                    <a:pt x="261" y="198"/>
                  </a:cubicBezTo>
                  <a:moveTo>
                    <a:pt x="261" y="198"/>
                  </a:moveTo>
                  <a:cubicBezTo>
                    <a:pt x="222" y="229"/>
                    <a:pt x="189" y="265"/>
                    <a:pt x="159" y="305"/>
                  </a:cubicBezTo>
                  <a:moveTo>
                    <a:pt x="159" y="305"/>
                  </a:moveTo>
                  <a:cubicBezTo>
                    <a:pt x="158" y="305"/>
                    <a:pt x="158" y="305"/>
                    <a:pt x="158" y="306"/>
                  </a:cubicBezTo>
                  <a:moveTo>
                    <a:pt x="158" y="306"/>
                  </a:moveTo>
                  <a:cubicBezTo>
                    <a:pt x="157" y="306"/>
                    <a:pt x="158" y="307"/>
                    <a:pt x="158" y="306"/>
                  </a:cubicBezTo>
                  <a:moveTo>
                    <a:pt x="158" y="306"/>
                  </a:moveTo>
                  <a:cubicBezTo>
                    <a:pt x="159" y="306"/>
                    <a:pt x="159" y="305"/>
                    <a:pt x="159" y="305"/>
                  </a:cubicBezTo>
                  <a:moveTo>
                    <a:pt x="159" y="305"/>
                  </a:moveTo>
                  <a:cubicBezTo>
                    <a:pt x="167" y="301"/>
                    <a:pt x="173" y="295"/>
                    <a:pt x="182" y="292"/>
                  </a:cubicBezTo>
                  <a:cubicBezTo>
                    <a:pt x="205" y="258"/>
                    <a:pt x="232" y="227"/>
                    <a:pt x="261" y="198"/>
                  </a:cubicBezTo>
                  <a:moveTo>
                    <a:pt x="261" y="198"/>
                  </a:moveTo>
                  <a:cubicBezTo>
                    <a:pt x="262" y="198"/>
                    <a:pt x="262" y="198"/>
                    <a:pt x="262" y="197"/>
                  </a:cubicBezTo>
                  <a:moveTo>
                    <a:pt x="262" y="197"/>
                  </a:moveTo>
                  <a:cubicBezTo>
                    <a:pt x="263" y="197"/>
                    <a:pt x="263" y="197"/>
                    <a:pt x="263" y="196"/>
                  </a:cubicBezTo>
                  <a:moveTo>
                    <a:pt x="263" y="196"/>
                  </a:moveTo>
                  <a:cubicBezTo>
                    <a:pt x="264" y="196"/>
                    <a:pt x="264" y="196"/>
                    <a:pt x="264" y="195"/>
                  </a:cubicBezTo>
                  <a:moveTo>
                    <a:pt x="264" y="195"/>
                  </a:moveTo>
                  <a:cubicBezTo>
                    <a:pt x="265" y="195"/>
                    <a:pt x="265" y="195"/>
                    <a:pt x="265" y="194"/>
                  </a:cubicBezTo>
                  <a:moveTo>
                    <a:pt x="265" y="194"/>
                  </a:moveTo>
                  <a:cubicBezTo>
                    <a:pt x="266" y="195"/>
                    <a:pt x="266" y="194"/>
                    <a:pt x="266" y="193"/>
                  </a:cubicBezTo>
                  <a:moveTo>
                    <a:pt x="266" y="193"/>
                  </a:moveTo>
                  <a:cubicBezTo>
                    <a:pt x="266" y="194"/>
                    <a:pt x="267" y="193"/>
                    <a:pt x="267" y="192"/>
                  </a:cubicBezTo>
                  <a:moveTo>
                    <a:pt x="267" y="192"/>
                  </a:moveTo>
                  <a:cubicBezTo>
                    <a:pt x="268" y="192"/>
                    <a:pt x="267" y="191"/>
                    <a:pt x="267" y="192"/>
                  </a:cubicBezTo>
                  <a:moveTo>
                    <a:pt x="265" y="261"/>
                  </a:moveTo>
                  <a:cubicBezTo>
                    <a:pt x="263" y="261"/>
                    <a:pt x="265" y="262"/>
                    <a:pt x="265" y="261"/>
                  </a:cubicBezTo>
                  <a:moveTo>
                    <a:pt x="265" y="261"/>
                  </a:moveTo>
                  <a:cubicBezTo>
                    <a:pt x="274" y="259"/>
                    <a:pt x="281" y="256"/>
                    <a:pt x="291" y="255"/>
                  </a:cubicBezTo>
                  <a:cubicBezTo>
                    <a:pt x="305" y="236"/>
                    <a:pt x="324" y="222"/>
                    <a:pt x="340" y="205"/>
                  </a:cubicBezTo>
                  <a:cubicBezTo>
                    <a:pt x="330" y="202"/>
                    <a:pt x="323" y="196"/>
                    <a:pt x="315" y="192"/>
                  </a:cubicBezTo>
                  <a:cubicBezTo>
                    <a:pt x="296" y="214"/>
                    <a:pt x="279" y="236"/>
                    <a:pt x="265" y="261"/>
                  </a:cubicBezTo>
                  <a:moveTo>
                    <a:pt x="1208" y="192"/>
                  </a:moveTo>
                  <a:cubicBezTo>
                    <a:pt x="1198" y="200"/>
                    <a:pt x="1184" y="204"/>
                    <a:pt x="1173" y="211"/>
                  </a:cubicBezTo>
                  <a:cubicBezTo>
                    <a:pt x="1184" y="223"/>
                    <a:pt x="1187" y="240"/>
                    <a:pt x="1203" y="247"/>
                  </a:cubicBezTo>
                  <a:cubicBezTo>
                    <a:pt x="1215" y="253"/>
                    <a:pt x="1231" y="253"/>
                    <a:pt x="1246" y="257"/>
                  </a:cubicBezTo>
                  <a:cubicBezTo>
                    <a:pt x="1260" y="261"/>
                    <a:pt x="1274" y="266"/>
                    <a:pt x="1287" y="269"/>
                  </a:cubicBezTo>
                  <a:cubicBezTo>
                    <a:pt x="1267" y="238"/>
                    <a:pt x="1237" y="216"/>
                    <a:pt x="1208" y="192"/>
                  </a:cubicBezTo>
                  <a:close/>
                  <a:moveTo>
                    <a:pt x="637" y="198"/>
                  </a:moveTo>
                  <a:cubicBezTo>
                    <a:pt x="636" y="202"/>
                    <a:pt x="630" y="210"/>
                    <a:pt x="633" y="212"/>
                  </a:cubicBezTo>
                  <a:cubicBezTo>
                    <a:pt x="638" y="210"/>
                    <a:pt x="636" y="203"/>
                    <a:pt x="637" y="198"/>
                  </a:cubicBezTo>
                  <a:moveTo>
                    <a:pt x="637" y="198"/>
                  </a:moveTo>
                  <a:cubicBezTo>
                    <a:pt x="640" y="198"/>
                    <a:pt x="636" y="194"/>
                    <a:pt x="637" y="198"/>
                  </a:cubicBezTo>
                  <a:moveTo>
                    <a:pt x="1072" y="226"/>
                  </a:moveTo>
                  <a:cubicBezTo>
                    <a:pt x="1076" y="226"/>
                    <a:pt x="1083" y="228"/>
                    <a:pt x="1085" y="227"/>
                  </a:cubicBezTo>
                  <a:cubicBezTo>
                    <a:pt x="1077" y="219"/>
                    <a:pt x="1070" y="209"/>
                    <a:pt x="1062" y="201"/>
                  </a:cubicBezTo>
                  <a:cubicBezTo>
                    <a:pt x="1065" y="210"/>
                    <a:pt x="1069" y="217"/>
                    <a:pt x="1072" y="226"/>
                  </a:cubicBezTo>
                  <a:close/>
                  <a:moveTo>
                    <a:pt x="342" y="207"/>
                  </a:moveTo>
                  <a:cubicBezTo>
                    <a:pt x="327" y="222"/>
                    <a:pt x="310" y="236"/>
                    <a:pt x="296" y="253"/>
                  </a:cubicBezTo>
                  <a:cubicBezTo>
                    <a:pt x="319" y="247"/>
                    <a:pt x="343" y="243"/>
                    <a:pt x="366" y="239"/>
                  </a:cubicBezTo>
                  <a:cubicBezTo>
                    <a:pt x="370" y="231"/>
                    <a:pt x="374" y="225"/>
                    <a:pt x="377" y="217"/>
                  </a:cubicBezTo>
                  <a:cubicBezTo>
                    <a:pt x="364" y="215"/>
                    <a:pt x="354" y="210"/>
                    <a:pt x="342" y="207"/>
                  </a:cubicBezTo>
                  <a:close/>
                  <a:moveTo>
                    <a:pt x="745" y="212"/>
                  </a:moveTo>
                  <a:cubicBezTo>
                    <a:pt x="745" y="226"/>
                    <a:pt x="744" y="240"/>
                    <a:pt x="743" y="254"/>
                  </a:cubicBezTo>
                  <a:cubicBezTo>
                    <a:pt x="757" y="253"/>
                    <a:pt x="774" y="255"/>
                    <a:pt x="786" y="253"/>
                  </a:cubicBezTo>
                  <a:cubicBezTo>
                    <a:pt x="784" y="241"/>
                    <a:pt x="786" y="224"/>
                    <a:pt x="784" y="212"/>
                  </a:cubicBezTo>
                  <a:cubicBezTo>
                    <a:pt x="773" y="210"/>
                    <a:pt x="756" y="210"/>
                    <a:pt x="745" y="212"/>
                  </a:cubicBezTo>
                  <a:close/>
                  <a:moveTo>
                    <a:pt x="1176" y="220"/>
                  </a:moveTo>
                  <a:cubicBezTo>
                    <a:pt x="1176" y="221"/>
                    <a:pt x="1176" y="221"/>
                    <a:pt x="1177" y="221"/>
                  </a:cubicBezTo>
                  <a:moveTo>
                    <a:pt x="1177" y="221"/>
                  </a:moveTo>
                  <a:cubicBezTo>
                    <a:pt x="1177" y="223"/>
                    <a:pt x="1178" y="221"/>
                    <a:pt x="1177" y="221"/>
                  </a:cubicBezTo>
                  <a:moveTo>
                    <a:pt x="1177" y="221"/>
                  </a:moveTo>
                  <a:cubicBezTo>
                    <a:pt x="1177" y="220"/>
                    <a:pt x="1176" y="220"/>
                    <a:pt x="1176" y="220"/>
                  </a:cubicBezTo>
                  <a:moveTo>
                    <a:pt x="1176" y="220"/>
                  </a:moveTo>
                  <a:cubicBezTo>
                    <a:pt x="1174" y="216"/>
                    <a:pt x="1171" y="207"/>
                    <a:pt x="1166" y="213"/>
                  </a:cubicBezTo>
                  <a:cubicBezTo>
                    <a:pt x="1170" y="214"/>
                    <a:pt x="1172" y="218"/>
                    <a:pt x="1176" y="220"/>
                  </a:cubicBezTo>
                  <a:moveTo>
                    <a:pt x="639" y="214"/>
                  </a:moveTo>
                  <a:cubicBezTo>
                    <a:pt x="637" y="225"/>
                    <a:pt x="635" y="238"/>
                    <a:pt x="633" y="251"/>
                  </a:cubicBezTo>
                  <a:cubicBezTo>
                    <a:pt x="669" y="252"/>
                    <a:pt x="704" y="254"/>
                    <a:pt x="741" y="254"/>
                  </a:cubicBezTo>
                  <a:cubicBezTo>
                    <a:pt x="741" y="239"/>
                    <a:pt x="742" y="225"/>
                    <a:pt x="743" y="212"/>
                  </a:cubicBezTo>
                  <a:cubicBezTo>
                    <a:pt x="707" y="211"/>
                    <a:pt x="673" y="213"/>
                    <a:pt x="639" y="214"/>
                  </a:cubicBezTo>
                  <a:close/>
                  <a:moveTo>
                    <a:pt x="787" y="212"/>
                  </a:moveTo>
                  <a:cubicBezTo>
                    <a:pt x="786" y="227"/>
                    <a:pt x="789" y="239"/>
                    <a:pt x="788" y="254"/>
                  </a:cubicBezTo>
                  <a:cubicBezTo>
                    <a:pt x="815" y="254"/>
                    <a:pt x="840" y="252"/>
                    <a:pt x="867" y="252"/>
                  </a:cubicBezTo>
                  <a:cubicBezTo>
                    <a:pt x="863" y="238"/>
                    <a:pt x="860" y="225"/>
                    <a:pt x="856" y="213"/>
                  </a:cubicBezTo>
                  <a:cubicBezTo>
                    <a:pt x="834" y="212"/>
                    <a:pt x="811" y="211"/>
                    <a:pt x="787" y="212"/>
                  </a:cubicBezTo>
                  <a:close/>
                  <a:moveTo>
                    <a:pt x="870" y="251"/>
                  </a:moveTo>
                  <a:cubicBezTo>
                    <a:pt x="890" y="251"/>
                    <a:pt x="917" y="249"/>
                    <a:pt x="938" y="247"/>
                  </a:cubicBezTo>
                  <a:cubicBezTo>
                    <a:pt x="937" y="236"/>
                    <a:pt x="934" y="227"/>
                    <a:pt x="932" y="216"/>
                  </a:cubicBezTo>
                  <a:cubicBezTo>
                    <a:pt x="909" y="214"/>
                    <a:pt x="884" y="214"/>
                    <a:pt x="861" y="213"/>
                  </a:cubicBezTo>
                  <a:cubicBezTo>
                    <a:pt x="864" y="226"/>
                    <a:pt x="868" y="237"/>
                    <a:pt x="870" y="251"/>
                  </a:cubicBezTo>
                  <a:close/>
                  <a:moveTo>
                    <a:pt x="1190" y="244"/>
                  </a:moveTo>
                  <a:cubicBezTo>
                    <a:pt x="1191" y="246"/>
                    <a:pt x="1191" y="244"/>
                    <a:pt x="1190" y="244"/>
                  </a:cubicBezTo>
                  <a:moveTo>
                    <a:pt x="1190" y="244"/>
                  </a:moveTo>
                  <a:cubicBezTo>
                    <a:pt x="1184" y="231"/>
                    <a:pt x="1173" y="222"/>
                    <a:pt x="1162" y="213"/>
                  </a:cubicBezTo>
                  <a:cubicBezTo>
                    <a:pt x="1143" y="221"/>
                    <a:pt x="1120" y="224"/>
                    <a:pt x="1099" y="230"/>
                  </a:cubicBezTo>
                  <a:cubicBezTo>
                    <a:pt x="1131" y="233"/>
                    <a:pt x="1160" y="239"/>
                    <a:pt x="1190" y="244"/>
                  </a:cubicBezTo>
                  <a:moveTo>
                    <a:pt x="632" y="214"/>
                  </a:moveTo>
                  <a:cubicBezTo>
                    <a:pt x="625" y="223"/>
                    <a:pt x="622" y="237"/>
                    <a:pt x="618" y="250"/>
                  </a:cubicBezTo>
                  <a:cubicBezTo>
                    <a:pt x="622" y="250"/>
                    <a:pt x="626" y="250"/>
                    <a:pt x="630" y="250"/>
                  </a:cubicBezTo>
                  <a:cubicBezTo>
                    <a:pt x="631" y="238"/>
                    <a:pt x="633" y="225"/>
                    <a:pt x="635" y="214"/>
                  </a:cubicBezTo>
                  <a:cubicBezTo>
                    <a:pt x="634" y="214"/>
                    <a:pt x="633" y="214"/>
                    <a:pt x="632" y="214"/>
                  </a:cubicBezTo>
                  <a:close/>
                  <a:moveTo>
                    <a:pt x="515" y="222"/>
                  </a:moveTo>
                  <a:cubicBezTo>
                    <a:pt x="512" y="228"/>
                    <a:pt x="507" y="233"/>
                    <a:pt x="505" y="239"/>
                  </a:cubicBezTo>
                  <a:cubicBezTo>
                    <a:pt x="541" y="243"/>
                    <a:pt x="576" y="248"/>
                    <a:pt x="615" y="249"/>
                  </a:cubicBezTo>
                  <a:cubicBezTo>
                    <a:pt x="619" y="237"/>
                    <a:pt x="623" y="226"/>
                    <a:pt x="628" y="215"/>
                  </a:cubicBezTo>
                  <a:cubicBezTo>
                    <a:pt x="589" y="216"/>
                    <a:pt x="552" y="218"/>
                    <a:pt x="515" y="222"/>
                  </a:cubicBezTo>
                  <a:close/>
                  <a:moveTo>
                    <a:pt x="941" y="247"/>
                  </a:moveTo>
                  <a:cubicBezTo>
                    <a:pt x="956" y="246"/>
                    <a:pt x="972" y="245"/>
                    <a:pt x="986" y="242"/>
                  </a:cubicBezTo>
                  <a:cubicBezTo>
                    <a:pt x="980" y="235"/>
                    <a:pt x="978" y="225"/>
                    <a:pt x="971" y="219"/>
                  </a:cubicBezTo>
                  <a:cubicBezTo>
                    <a:pt x="960" y="218"/>
                    <a:pt x="947" y="217"/>
                    <a:pt x="935" y="216"/>
                  </a:cubicBezTo>
                  <a:cubicBezTo>
                    <a:pt x="936" y="227"/>
                    <a:pt x="939" y="236"/>
                    <a:pt x="941" y="247"/>
                  </a:cubicBezTo>
                  <a:close/>
                  <a:moveTo>
                    <a:pt x="370" y="238"/>
                  </a:moveTo>
                  <a:cubicBezTo>
                    <a:pt x="369" y="238"/>
                    <a:pt x="370" y="239"/>
                    <a:pt x="370" y="238"/>
                  </a:cubicBezTo>
                  <a:moveTo>
                    <a:pt x="370" y="238"/>
                  </a:moveTo>
                  <a:cubicBezTo>
                    <a:pt x="384" y="235"/>
                    <a:pt x="401" y="237"/>
                    <a:pt x="406" y="225"/>
                  </a:cubicBezTo>
                  <a:cubicBezTo>
                    <a:pt x="396" y="224"/>
                    <a:pt x="389" y="220"/>
                    <a:pt x="379" y="219"/>
                  </a:cubicBezTo>
                  <a:cubicBezTo>
                    <a:pt x="377" y="226"/>
                    <a:pt x="372" y="230"/>
                    <a:pt x="370" y="238"/>
                  </a:cubicBezTo>
                  <a:moveTo>
                    <a:pt x="989" y="242"/>
                  </a:moveTo>
                  <a:cubicBezTo>
                    <a:pt x="1017" y="239"/>
                    <a:pt x="1047" y="238"/>
                    <a:pt x="1071" y="230"/>
                  </a:cubicBezTo>
                  <a:cubicBezTo>
                    <a:pt x="1042" y="224"/>
                    <a:pt x="1008" y="222"/>
                    <a:pt x="976" y="219"/>
                  </a:cubicBezTo>
                  <a:cubicBezTo>
                    <a:pt x="980" y="227"/>
                    <a:pt x="984" y="235"/>
                    <a:pt x="989" y="242"/>
                  </a:cubicBezTo>
                  <a:close/>
                  <a:moveTo>
                    <a:pt x="497" y="223"/>
                  </a:moveTo>
                  <a:cubicBezTo>
                    <a:pt x="494" y="227"/>
                    <a:pt x="494" y="233"/>
                    <a:pt x="491" y="238"/>
                  </a:cubicBezTo>
                  <a:cubicBezTo>
                    <a:pt x="495" y="237"/>
                    <a:pt x="497" y="239"/>
                    <a:pt x="502" y="239"/>
                  </a:cubicBezTo>
                  <a:cubicBezTo>
                    <a:pt x="504" y="232"/>
                    <a:pt x="509" y="228"/>
                    <a:pt x="511" y="222"/>
                  </a:cubicBezTo>
                  <a:cubicBezTo>
                    <a:pt x="507" y="223"/>
                    <a:pt x="503" y="224"/>
                    <a:pt x="497" y="223"/>
                  </a:cubicBezTo>
                  <a:close/>
                  <a:moveTo>
                    <a:pt x="1178" y="224"/>
                  </a:moveTo>
                  <a:cubicBezTo>
                    <a:pt x="1177" y="224"/>
                    <a:pt x="1178" y="225"/>
                    <a:pt x="1178" y="224"/>
                  </a:cubicBezTo>
                  <a:close/>
                  <a:moveTo>
                    <a:pt x="445" y="231"/>
                  </a:moveTo>
                  <a:cubicBezTo>
                    <a:pt x="460" y="233"/>
                    <a:pt x="475" y="235"/>
                    <a:pt x="489" y="238"/>
                  </a:cubicBezTo>
                  <a:cubicBezTo>
                    <a:pt x="490" y="232"/>
                    <a:pt x="492" y="229"/>
                    <a:pt x="493" y="224"/>
                  </a:cubicBezTo>
                  <a:cubicBezTo>
                    <a:pt x="477" y="226"/>
                    <a:pt x="459" y="226"/>
                    <a:pt x="445" y="231"/>
                  </a:cubicBezTo>
                  <a:close/>
                  <a:moveTo>
                    <a:pt x="421" y="230"/>
                  </a:moveTo>
                  <a:cubicBezTo>
                    <a:pt x="423" y="230"/>
                    <a:pt x="429" y="229"/>
                    <a:pt x="424" y="229"/>
                  </a:cubicBezTo>
                  <a:cubicBezTo>
                    <a:pt x="419" y="228"/>
                    <a:pt x="414" y="227"/>
                    <a:pt x="409" y="226"/>
                  </a:cubicBezTo>
                  <a:cubicBezTo>
                    <a:pt x="407" y="229"/>
                    <a:pt x="404" y="230"/>
                    <a:pt x="403" y="233"/>
                  </a:cubicBezTo>
                  <a:cubicBezTo>
                    <a:pt x="409" y="232"/>
                    <a:pt x="416" y="231"/>
                    <a:pt x="421" y="230"/>
                  </a:cubicBezTo>
                  <a:close/>
                  <a:moveTo>
                    <a:pt x="1079" y="230"/>
                  </a:moveTo>
                  <a:cubicBezTo>
                    <a:pt x="1078" y="229"/>
                    <a:pt x="1073" y="228"/>
                    <a:pt x="1073" y="230"/>
                  </a:cubicBezTo>
                  <a:cubicBezTo>
                    <a:pt x="1074" y="231"/>
                    <a:pt x="1078" y="232"/>
                    <a:pt x="1079" y="230"/>
                  </a:cubicBezTo>
                  <a:close/>
                  <a:moveTo>
                    <a:pt x="309" y="418"/>
                  </a:moveTo>
                  <a:cubicBezTo>
                    <a:pt x="307" y="419"/>
                    <a:pt x="309" y="419"/>
                    <a:pt x="309" y="418"/>
                  </a:cubicBezTo>
                  <a:moveTo>
                    <a:pt x="309" y="418"/>
                  </a:moveTo>
                  <a:cubicBezTo>
                    <a:pt x="345" y="412"/>
                    <a:pt x="381" y="406"/>
                    <a:pt x="418" y="401"/>
                  </a:cubicBezTo>
                  <a:cubicBezTo>
                    <a:pt x="436" y="359"/>
                    <a:pt x="455" y="318"/>
                    <a:pt x="477" y="281"/>
                  </a:cubicBezTo>
                  <a:cubicBezTo>
                    <a:pt x="479" y="266"/>
                    <a:pt x="484" y="253"/>
                    <a:pt x="488" y="239"/>
                  </a:cubicBezTo>
                  <a:cubicBezTo>
                    <a:pt x="458" y="236"/>
                    <a:pt x="431" y="227"/>
                    <a:pt x="401" y="236"/>
                  </a:cubicBezTo>
                  <a:cubicBezTo>
                    <a:pt x="376" y="263"/>
                    <a:pt x="355" y="294"/>
                    <a:pt x="333" y="324"/>
                  </a:cubicBezTo>
                  <a:cubicBezTo>
                    <a:pt x="324" y="355"/>
                    <a:pt x="314" y="384"/>
                    <a:pt x="309" y="418"/>
                  </a:cubicBezTo>
                  <a:moveTo>
                    <a:pt x="1092" y="232"/>
                  </a:moveTo>
                  <a:cubicBezTo>
                    <a:pt x="1137" y="288"/>
                    <a:pt x="1175" y="350"/>
                    <a:pt x="1208" y="417"/>
                  </a:cubicBezTo>
                  <a:cubicBezTo>
                    <a:pt x="1224" y="419"/>
                    <a:pt x="1240" y="426"/>
                    <a:pt x="1256" y="425"/>
                  </a:cubicBezTo>
                  <a:cubicBezTo>
                    <a:pt x="1244" y="360"/>
                    <a:pt x="1220" y="299"/>
                    <a:pt x="1192" y="247"/>
                  </a:cubicBezTo>
                  <a:cubicBezTo>
                    <a:pt x="1159" y="242"/>
                    <a:pt x="1128" y="235"/>
                    <a:pt x="1092" y="232"/>
                  </a:cubicBezTo>
                  <a:moveTo>
                    <a:pt x="1092" y="232"/>
                  </a:moveTo>
                  <a:cubicBezTo>
                    <a:pt x="1092" y="230"/>
                    <a:pt x="1091" y="232"/>
                    <a:pt x="1092" y="232"/>
                  </a:cubicBezTo>
                  <a:moveTo>
                    <a:pt x="1104" y="252"/>
                  </a:moveTo>
                  <a:cubicBezTo>
                    <a:pt x="1096" y="241"/>
                    <a:pt x="1089" y="225"/>
                    <a:pt x="1075" y="235"/>
                  </a:cubicBezTo>
                  <a:cubicBezTo>
                    <a:pt x="1096" y="285"/>
                    <a:pt x="1109" y="342"/>
                    <a:pt x="1119" y="403"/>
                  </a:cubicBezTo>
                  <a:cubicBezTo>
                    <a:pt x="1148" y="406"/>
                    <a:pt x="1178" y="413"/>
                    <a:pt x="1205" y="415"/>
                  </a:cubicBezTo>
                  <a:cubicBezTo>
                    <a:pt x="1178" y="360"/>
                    <a:pt x="1141" y="300"/>
                    <a:pt x="1104" y="252"/>
                  </a:cubicBezTo>
                  <a:close/>
                  <a:moveTo>
                    <a:pt x="990" y="245"/>
                  </a:moveTo>
                  <a:cubicBezTo>
                    <a:pt x="1015" y="293"/>
                    <a:pt x="1038" y="342"/>
                    <a:pt x="1057" y="395"/>
                  </a:cubicBezTo>
                  <a:cubicBezTo>
                    <a:pt x="1077" y="398"/>
                    <a:pt x="1097" y="399"/>
                    <a:pt x="1116" y="403"/>
                  </a:cubicBezTo>
                  <a:cubicBezTo>
                    <a:pt x="1108" y="349"/>
                    <a:pt x="1096" y="297"/>
                    <a:pt x="1080" y="252"/>
                  </a:cubicBezTo>
                  <a:cubicBezTo>
                    <a:pt x="1078" y="246"/>
                    <a:pt x="1076" y="238"/>
                    <a:pt x="1070" y="235"/>
                  </a:cubicBezTo>
                  <a:cubicBezTo>
                    <a:pt x="1044" y="239"/>
                    <a:pt x="1018" y="243"/>
                    <a:pt x="990" y="245"/>
                  </a:cubicBezTo>
                  <a:close/>
                  <a:moveTo>
                    <a:pt x="368" y="240"/>
                  </a:moveTo>
                  <a:cubicBezTo>
                    <a:pt x="357" y="263"/>
                    <a:pt x="345" y="288"/>
                    <a:pt x="339" y="312"/>
                  </a:cubicBezTo>
                  <a:cubicBezTo>
                    <a:pt x="353" y="289"/>
                    <a:pt x="373" y="265"/>
                    <a:pt x="390" y="245"/>
                  </a:cubicBezTo>
                  <a:cubicBezTo>
                    <a:pt x="392" y="243"/>
                    <a:pt x="395" y="239"/>
                    <a:pt x="394" y="237"/>
                  </a:cubicBezTo>
                  <a:cubicBezTo>
                    <a:pt x="386" y="238"/>
                    <a:pt x="378" y="240"/>
                    <a:pt x="368" y="240"/>
                  </a:cubicBezTo>
                  <a:close/>
                  <a:moveTo>
                    <a:pt x="483" y="268"/>
                  </a:moveTo>
                  <a:cubicBezTo>
                    <a:pt x="480" y="268"/>
                    <a:pt x="484" y="272"/>
                    <a:pt x="483" y="268"/>
                  </a:cubicBezTo>
                  <a:moveTo>
                    <a:pt x="483" y="268"/>
                  </a:moveTo>
                  <a:cubicBezTo>
                    <a:pt x="489" y="260"/>
                    <a:pt x="494" y="251"/>
                    <a:pt x="499" y="241"/>
                  </a:cubicBezTo>
                  <a:cubicBezTo>
                    <a:pt x="496" y="241"/>
                    <a:pt x="494" y="240"/>
                    <a:pt x="490" y="240"/>
                  </a:cubicBezTo>
                  <a:cubicBezTo>
                    <a:pt x="488" y="250"/>
                    <a:pt x="484" y="258"/>
                    <a:pt x="483" y="268"/>
                  </a:cubicBezTo>
                  <a:moveTo>
                    <a:pt x="327" y="249"/>
                  </a:moveTo>
                  <a:cubicBezTo>
                    <a:pt x="315" y="252"/>
                    <a:pt x="301" y="252"/>
                    <a:pt x="294" y="256"/>
                  </a:cubicBezTo>
                  <a:cubicBezTo>
                    <a:pt x="288" y="259"/>
                    <a:pt x="279" y="270"/>
                    <a:pt x="273" y="277"/>
                  </a:cubicBezTo>
                  <a:cubicBezTo>
                    <a:pt x="242" y="313"/>
                    <a:pt x="211" y="348"/>
                    <a:pt x="198" y="402"/>
                  </a:cubicBezTo>
                  <a:cubicBezTo>
                    <a:pt x="222" y="411"/>
                    <a:pt x="245" y="420"/>
                    <a:pt x="271" y="426"/>
                  </a:cubicBezTo>
                  <a:cubicBezTo>
                    <a:pt x="285" y="399"/>
                    <a:pt x="300" y="372"/>
                    <a:pt x="316" y="347"/>
                  </a:cubicBezTo>
                  <a:cubicBezTo>
                    <a:pt x="321" y="339"/>
                    <a:pt x="328" y="330"/>
                    <a:pt x="332" y="322"/>
                  </a:cubicBezTo>
                  <a:cubicBezTo>
                    <a:pt x="344" y="296"/>
                    <a:pt x="348" y="268"/>
                    <a:pt x="365" y="243"/>
                  </a:cubicBezTo>
                  <a:cubicBezTo>
                    <a:pt x="364" y="243"/>
                    <a:pt x="365" y="241"/>
                    <a:pt x="364" y="241"/>
                  </a:cubicBezTo>
                  <a:cubicBezTo>
                    <a:pt x="353" y="243"/>
                    <a:pt x="340" y="246"/>
                    <a:pt x="327" y="249"/>
                  </a:cubicBezTo>
                  <a:close/>
                  <a:moveTo>
                    <a:pt x="504" y="242"/>
                  </a:moveTo>
                  <a:cubicBezTo>
                    <a:pt x="472" y="274"/>
                    <a:pt x="465" y="338"/>
                    <a:pt x="457" y="396"/>
                  </a:cubicBezTo>
                  <a:cubicBezTo>
                    <a:pt x="495" y="392"/>
                    <a:pt x="535" y="389"/>
                    <a:pt x="575" y="385"/>
                  </a:cubicBezTo>
                  <a:cubicBezTo>
                    <a:pt x="587" y="340"/>
                    <a:pt x="599" y="294"/>
                    <a:pt x="614" y="252"/>
                  </a:cubicBezTo>
                  <a:cubicBezTo>
                    <a:pt x="576" y="250"/>
                    <a:pt x="540" y="246"/>
                    <a:pt x="504" y="242"/>
                  </a:cubicBezTo>
                  <a:close/>
                  <a:moveTo>
                    <a:pt x="1194" y="244"/>
                  </a:moveTo>
                  <a:cubicBezTo>
                    <a:pt x="1194" y="245"/>
                    <a:pt x="1194" y="245"/>
                    <a:pt x="1195" y="245"/>
                  </a:cubicBezTo>
                  <a:moveTo>
                    <a:pt x="1195" y="245"/>
                  </a:moveTo>
                  <a:cubicBezTo>
                    <a:pt x="1196" y="247"/>
                    <a:pt x="1196" y="245"/>
                    <a:pt x="1195" y="245"/>
                  </a:cubicBezTo>
                  <a:moveTo>
                    <a:pt x="1195" y="245"/>
                  </a:moveTo>
                  <a:cubicBezTo>
                    <a:pt x="1195" y="244"/>
                    <a:pt x="1195" y="244"/>
                    <a:pt x="1194" y="244"/>
                  </a:cubicBezTo>
                  <a:moveTo>
                    <a:pt x="1194" y="244"/>
                  </a:moveTo>
                  <a:cubicBezTo>
                    <a:pt x="1193" y="243"/>
                    <a:pt x="1193" y="244"/>
                    <a:pt x="1194" y="244"/>
                  </a:cubicBezTo>
                  <a:moveTo>
                    <a:pt x="942" y="250"/>
                  </a:moveTo>
                  <a:cubicBezTo>
                    <a:pt x="949" y="294"/>
                    <a:pt x="955" y="339"/>
                    <a:pt x="960" y="386"/>
                  </a:cubicBezTo>
                  <a:cubicBezTo>
                    <a:pt x="991" y="389"/>
                    <a:pt x="1024" y="391"/>
                    <a:pt x="1054" y="395"/>
                  </a:cubicBezTo>
                  <a:cubicBezTo>
                    <a:pt x="1035" y="342"/>
                    <a:pt x="1013" y="293"/>
                    <a:pt x="988" y="246"/>
                  </a:cubicBezTo>
                  <a:cubicBezTo>
                    <a:pt x="972" y="247"/>
                    <a:pt x="957" y="249"/>
                    <a:pt x="942" y="250"/>
                  </a:cubicBezTo>
                  <a:close/>
                  <a:moveTo>
                    <a:pt x="1259" y="424"/>
                  </a:moveTo>
                  <a:cubicBezTo>
                    <a:pt x="1279" y="419"/>
                    <a:pt x="1296" y="412"/>
                    <a:pt x="1314" y="407"/>
                  </a:cubicBezTo>
                  <a:cubicBezTo>
                    <a:pt x="1282" y="347"/>
                    <a:pt x="1242" y="296"/>
                    <a:pt x="1198" y="249"/>
                  </a:cubicBezTo>
                  <a:cubicBezTo>
                    <a:pt x="1197" y="249"/>
                    <a:pt x="1196" y="249"/>
                    <a:pt x="1196" y="250"/>
                  </a:cubicBezTo>
                  <a:cubicBezTo>
                    <a:pt x="1224" y="301"/>
                    <a:pt x="1245" y="359"/>
                    <a:pt x="1259" y="424"/>
                  </a:cubicBezTo>
                  <a:close/>
                  <a:moveTo>
                    <a:pt x="871" y="255"/>
                  </a:moveTo>
                  <a:cubicBezTo>
                    <a:pt x="883" y="296"/>
                    <a:pt x="891" y="339"/>
                    <a:pt x="899" y="383"/>
                  </a:cubicBezTo>
                  <a:cubicBezTo>
                    <a:pt x="918" y="384"/>
                    <a:pt x="938" y="384"/>
                    <a:pt x="957" y="386"/>
                  </a:cubicBezTo>
                  <a:cubicBezTo>
                    <a:pt x="953" y="345"/>
                    <a:pt x="948" y="301"/>
                    <a:pt x="942" y="264"/>
                  </a:cubicBezTo>
                  <a:cubicBezTo>
                    <a:pt x="941" y="260"/>
                    <a:pt x="941" y="252"/>
                    <a:pt x="936" y="250"/>
                  </a:cubicBezTo>
                  <a:cubicBezTo>
                    <a:pt x="915" y="253"/>
                    <a:pt x="892" y="252"/>
                    <a:pt x="871" y="255"/>
                  </a:cubicBezTo>
                  <a:close/>
                  <a:moveTo>
                    <a:pt x="1317" y="405"/>
                  </a:moveTo>
                  <a:cubicBezTo>
                    <a:pt x="1328" y="400"/>
                    <a:pt x="1340" y="395"/>
                    <a:pt x="1350" y="388"/>
                  </a:cubicBezTo>
                  <a:cubicBezTo>
                    <a:pt x="1332" y="347"/>
                    <a:pt x="1314" y="307"/>
                    <a:pt x="1289" y="273"/>
                  </a:cubicBezTo>
                  <a:cubicBezTo>
                    <a:pt x="1263" y="264"/>
                    <a:pt x="1231" y="255"/>
                    <a:pt x="1204" y="251"/>
                  </a:cubicBezTo>
                  <a:cubicBezTo>
                    <a:pt x="1247" y="297"/>
                    <a:pt x="1284" y="348"/>
                    <a:pt x="1317" y="405"/>
                  </a:cubicBezTo>
                  <a:close/>
                  <a:moveTo>
                    <a:pt x="616" y="253"/>
                  </a:moveTo>
                  <a:cubicBezTo>
                    <a:pt x="602" y="296"/>
                    <a:pt x="589" y="340"/>
                    <a:pt x="578" y="385"/>
                  </a:cubicBezTo>
                  <a:cubicBezTo>
                    <a:pt x="591" y="385"/>
                    <a:pt x="603" y="384"/>
                    <a:pt x="617" y="383"/>
                  </a:cubicBezTo>
                  <a:cubicBezTo>
                    <a:pt x="619" y="338"/>
                    <a:pt x="624" y="295"/>
                    <a:pt x="630" y="253"/>
                  </a:cubicBezTo>
                  <a:cubicBezTo>
                    <a:pt x="625" y="254"/>
                    <a:pt x="618" y="252"/>
                    <a:pt x="616" y="253"/>
                  </a:cubicBezTo>
                  <a:close/>
                  <a:moveTo>
                    <a:pt x="632" y="256"/>
                  </a:moveTo>
                  <a:cubicBezTo>
                    <a:pt x="628" y="298"/>
                    <a:pt x="623" y="339"/>
                    <a:pt x="621" y="383"/>
                  </a:cubicBezTo>
                  <a:cubicBezTo>
                    <a:pt x="658" y="381"/>
                    <a:pt x="697" y="381"/>
                    <a:pt x="735" y="380"/>
                  </a:cubicBezTo>
                  <a:cubicBezTo>
                    <a:pt x="737" y="339"/>
                    <a:pt x="739" y="298"/>
                    <a:pt x="740" y="257"/>
                  </a:cubicBezTo>
                  <a:cubicBezTo>
                    <a:pt x="704" y="257"/>
                    <a:pt x="670" y="255"/>
                    <a:pt x="634" y="254"/>
                  </a:cubicBezTo>
                  <a:cubicBezTo>
                    <a:pt x="634" y="252"/>
                    <a:pt x="632" y="254"/>
                    <a:pt x="632" y="256"/>
                  </a:cubicBezTo>
                  <a:close/>
                  <a:moveTo>
                    <a:pt x="788" y="257"/>
                  </a:moveTo>
                  <a:cubicBezTo>
                    <a:pt x="789" y="297"/>
                    <a:pt x="790" y="338"/>
                    <a:pt x="790" y="380"/>
                  </a:cubicBezTo>
                  <a:cubicBezTo>
                    <a:pt x="825" y="380"/>
                    <a:pt x="860" y="381"/>
                    <a:pt x="894" y="383"/>
                  </a:cubicBezTo>
                  <a:cubicBezTo>
                    <a:pt x="888" y="338"/>
                    <a:pt x="878" y="296"/>
                    <a:pt x="868" y="255"/>
                  </a:cubicBezTo>
                  <a:cubicBezTo>
                    <a:pt x="841" y="255"/>
                    <a:pt x="815" y="257"/>
                    <a:pt x="788" y="257"/>
                  </a:cubicBezTo>
                  <a:close/>
                  <a:moveTo>
                    <a:pt x="744" y="257"/>
                  </a:moveTo>
                  <a:cubicBezTo>
                    <a:pt x="740" y="296"/>
                    <a:pt x="740" y="339"/>
                    <a:pt x="738" y="380"/>
                  </a:cubicBezTo>
                  <a:cubicBezTo>
                    <a:pt x="755" y="380"/>
                    <a:pt x="771" y="380"/>
                    <a:pt x="788" y="380"/>
                  </a:cubicBezTo>
                  <a:cubicBezTo>
                    <a:pt x="788" y="338"/>
                    <a:pt x="786" y="298"/>
                    <a:pt x="786" y="257"/>
                  </a:cubicBezTo>
                  <a:cubicBezTo>
                    <a:pt x="772" y="257"/>
                    <a:pt x="758" y="257"/>
                    <a:pt x="744" y="257"/>
                  </a:cubicBezTo>
                  <a:close/>
                  <a:moveTo>
                    <a:pt x="286" y="259"/>
                  </a:moveTo>
                  <a:cubicBezTo>
                    <a:pt x="277" y="260"/>
                    <a:pt x="270" y="263"/>
                    <a:pt x="262" y="264"/>
                  </a:cubicBezTo>
                  <a:cubicBezTo>
                    <a:pt x="249" y="285"/>
                    <a:pt x="237" y="306"/>
                    <a:pt x="227" y="329"/>
                  </a:cubicBezTo>
                  <a:moveTo>
                    <a:pt x="227" y="329"/>
                  </a:moveTo>
                  <a:cubicBezTo>
                    <a:pt x="226" y="329"/>
                    <a:pt x="227" y="330"/>
                    <a:pt x="226" y="331"/>
                  </a:cubicBezTo>
                  <a:moveTo>
                    <a:pt x="226" y="331"/>
                  </a:moveTo>
                  <a:cubicBezTo>
                    <a:pt x="225" y="331"/>
                    <a:pt x="226" y="332"/>
                    <a:pt x="226" y="331"/>
                  </a:cubicBezTo>
                  <a:moveTo>
                    <a:pt x="226" y="331"/>
                  </a:moveTo>
                  <a:cubicBezTo>
                    <a:pt x="227" y="331"/>
                    <a:pt x="227" y="330"/>
                    <a:pt x="227" y="329"/>
                  </a:cubicBezTo>
                  <a:moveTo>
                    <a:pt x="286" y="259"/>
                  </a:moveTo>
                  <a:cubicBezTo>
                    <a:pt x="266" y="281"/>
                    <a:pt x="246" y="305"/>
                    <a:pt x="227" y="329"/>
                  </a:cubicBezTo>
                  <a:moveTo>
                    <a:pt x="286" y="259"/>
                  </a:moveTo>
                  <a:cubicBezTo>
                    <a:pt x="287" y="258"/>
                    <a:pt x="286" y="258"/>
                    <a:pt x="286" y="259"/>
                  </a:cubicBezTo>
                  <a:moveTo>
                    <a:pt x="257" y="266"/>
                  </a:moveTo>
                  <a:cubicBezTo>
                    <a:pt x="237" y="271"/>
                    <a:pt x="219" y="278"/>
                    <a:pt x="201" y="286"/>
                  </a:cubicBezTo>
                  <a:cubicBezTo>
                    <a:pt x="180" y="309"/>
                    <a:pt x="160" y="334"/>
                    <a:pt x="143" y="361"/>
                  </a:cubicBezTo>
                  <a:cubicBezTo>
                    <a:pt x="152" y="377"/>
                    <a:pt x="168" y="386"/>
                    <a:pt x="184" y="394"/>
                  </a:cubicBezTo>
                  <a:cubicBezTo>
                    <a:pt x="194" y="377"/>
                    <a:pt x="205" y="359"/>
                    <a:pt x="218" y="344"/>
                  </a:cubicBezTo>
                  <a:cubicBezTo>
                    <a:pt x="228" y="316"/>
                    <a:pt x="243" y="291"/>
                    <a:pt x="257" y="266"/>
                  </a:cubicBezTo>
                  <a:moveTo>
                    <a:pt x="257" y="266"/>
                  </a:moveTo>
                  <a:cubicBezTo>
                    <a:pt x="258" y="266"/>
                    <a:pt x="257" y="265"/>
                    <a:pt x="257" y="266"/>
                  </a:cubicBezTo>
                  <a:moveTo>
                    <a:pt x="1292" y="270"/>
                  </a:moveTo>
                  <a:cubicBezTo>
                    <a:pt x="1293" y="272"/>
                    <a:pt x="1293" y="270"/>
                    <a:pt x="1292" y="270"/>
                  </a:cubicBezTo>
                  <a:moveTo>
                    <a:pt x="1292" y="270"/>
                  </a:moveTo>
                  <a:cubicBezTo>
                    <a:pt x="1291" y="269"/>
                    <a:pt x="1291" y="270"/>
                    <a:pt x="1292" y="270"/>
                  </a:cubicBezTo>
                  <a:moveTo>
                    <a:pt x="1295" y="275"/>
                  </a:moveTo>
                  <a:cubicBezTo>
                    <a:pt x="1316" y="310"/>
                    <a:pt x="1336" y="347"/>
                    <a:pt x="1351" y="387"/>
                  </a:cubicBezTo>
                  <a:cubicBezTo>
                    <a:pt x="1360" y="383"/>
                    <a:pt x="1368" y="378"/>
                    <a:pt x="1373" y="371"/>
                  </a:cubicBezTo>
                  <a:cubicBezTo>
                    <a:pt x="1349" y="337"/>
                    <a:pt x="1324" y="306"/>
                    <a:pt x="1298" y="275"/>
                  </a:cubicBezTo>
                  <a:cubicBezTo>
                    <a:pt x="1297" y="275"/>
                    <a:pt x="1296" y="275"/>
                    <a:pt x="1295" y="275"/>
                  </a:cubicBezTo>
                  <a:moveTo>
                    <a:pt x="1295" y="275"/>
                  </a:moveTo>
                  <a:cubicBezTo>
                    <a:pt x="1294" y="274"/>
                    <a:pt x="1294" y="275"/>
                    <a:pt x="1295" y="275"/>
                  </a:cubicBezTo>
                  <a:moveTo>
                    <a:pt x="1375" y="370"/>
                  </a:moveTo>
                  <a:cubicBezTo>
                    <a:pt x="1380" y="364"/>
                    <a:pt x="1385" y="359"/>
                    <a:pt x="1387" y="350"/>
                  </a:cubicBezTo>
                  <a:cubicBezTo>
                    <a:pt x="1378" y="334"/>
                    <a:pt x="1367" y="319"/>
                    <a:pt x="1357" y="303"/>
                  </a:cubicBezTo>
                  <a:cubicBezTo>
                    <a:pt x="1341" y="294"/>
                    <a:pt x="1322" y="283"/>
                    <a:pt x="1303" y="279"/>
                  </a:cubicBezTo>
                  <a:cubicBezTo>
                    <a:pt x="1330" y="307"/>
                    <a:pt x="1352" y="339"/>
                    <a:pt x="1375" y="370"/>
                  </a:cubicBezTo>
                  <a:close/>
                  <a:moveTo>
                    <a:pt x="194" y="289"/>
                  </a:moveTo>
                  <a:cubicBezTo>
                    <a:pt x="177" y="295"/>
                    <a:pt x="173" y="313"/>
                    <a:pt x="164" y="326"/>
                  </a:cubicBezTo>
                  <a:moveTo>
                    <a:pt x="164" y="326"/>
                  </a:moveTo>
                  <a:cubicBezTo>
                    <a:pt x="163" y="326"/>
                    <a:pt x="163" y="326"/>
                    <a:pt x="163" y="327"/>
                  </a:cubicBezTo>
                  <a:moveTo>
                    <a:pt x="163" y="327"/>
                  </a:moveTo>
                  <a:cubicBezTo>
                    <a:pt x="162" y="327"/>
                    <a:pt x="162" y="328"/>
                    <a:pt x="162" y="329"/>
                  </a:cubicBezTo>
                  <a:moveTo>
                    <a:pt x="162" y="329"/>
                  </a:moveTo>
                  <a:cubicBezTo>
                    <a:pt x="161" y="329"/>
                    <a:pt x="162" y="330"/>
                    <a:pt x="162" y="329"/>
                  </a:cubicBezTo>
                  <a:moveTo>
                    <a:pt x="162" y="329"/>
                  </a:moveTo>
                  <a:cubicBezTo>
                    <a:pt x="163" y="329"/>
                    <a:pt x="163" y="328"/>
                    <a:pt x="163" y="327"/>
                  </a:cubicBezTo>
                  <a:moveTo>
                    <a:pt x="163" y="327"/>
                  </a:moveTo>
                  <a:cubicBezTo>
                    <a:pt x="164" y="327"/>
                    <a:pt x="164" y="326"/>
                    <a:pt x="164" y="326"/>
                  </a:cubicBezTo>
                  <a:moveTo>
                    <a:pt x="164" y="326"/>
                  </a:moveTo>
                  <a:cubicBezTo>
                    <a:pt x="174" y="314"/>
                    <a:pt x="184" y="302"/>
                    <a:pt x="194" y="289"/>
                  </a:cubicBezTo>
                  <a:moveTo>
                    <a:pt x="194" y="289"/>
                  </a:moveTo>
                  <a:cubicBezTo>
                    <a:pt x="195" y="289"/>
                    <a:pt x="194" y="288"/>
                    <a:pt x="194" y="289"/>
                  </a:cubicBezTo>
                  <a:moveTo>
                    <a:pt x="472" y="295"/>
                  </a:moveTo>
                  <a:cubicBezTo>
                    <a:pt x="472" y="295"/>
                    <a:pt x="471" y="295"/>
                    <a:pt x="471" y="295"/>
                  </a:cubicBezTo>
                  <a:cubicBezTo>
                    <a:pt x="454" y="329"/>
                    <a:pt x="436" y="362"/>
                    <a:pt x="422" y="400"/>
                  </a:cubicBezTo>
                  <a:moveTo>
                    <a:pt x="422" y="400"/>
                  </a:moveTo>
                  <a:cubicBezTo>
                    <a:pt x="421" y="400"/>
                    <a:pt x="422" y="401"/>
                    <a:pt x="422" y="400"/>
                  </a:cubicBezTo>
                  <a:moveTo>
                    <a:pt x="422" y="400"/>
                  </a:moveTo>
                  <a:cubicBezTo>
                    <a:pt x="434" y="400"/>
                    <a:pt x="442" y="397"/>
                    <a:pt x="454" y="397"/>
                  </a:cubicBezTo>
                  <a:cubicBezTo>
                    <a:pt x="458" y="361"/>
                    <a:pt x="465" y="329"/>
                    <a:pt x="472" y="295"/>
                  </a:cubicBezTo>
                  <a:moveTo>
                    <a:pt x="472" y="295"/>
                  </a:moveTo>
                  <a:cubicBezTo>
                    <a:pt x="475" y="295"/>
                    <a:pt x="471" y="291"/>
                    <a:pt x="472" y="295"/>
                  </a:cubicBezTo>
                  <a:moveTo>
                    <a:pt x="178" y="297"/>
                  </a:moveTo>
                  <a:cubicBezTo>
                    <a:pt x="158" y="308"/>
                    <a:pt x="126" y="328"/>
                    <a:pt x="141" y="359"/>
                  </a:cubicBezTo>
                  <a:cubicBezTo>
                    <a:pt x="153" y="338"/>
                    <a:pt x="165" y="317"/>
                    <a:pt x="178" y="297"/>
                  </a:cubicBezTo>
                  <a:moveTo>
                    <a:pt x="178" y="297"/>
                  </a:moveTo>
                  <a:cubicBezTo>
                    <a:pt x="180" y="296"/>
                    <a:pt x="178" y="296"/>
                    <a:pt x="178" y="297"/>
                  </a:cubicBezTo>
                  <a:moveTo>
                    <a:pt x="1364" y="309"/>
                  </a:moveTo>
                  <a:cubicBezTo>
                    <a:pt x="1364" y="309"/>
                    <a:pt x="1364" y="310"/>
                    <a:pt x="1365" y="310"/>
                  </a:cubicBezTo>
                  <a:moveTo>
                    <a:pt x="1365" y="310"/>
                  </a:moveTo>
                  <a:cubicBezTo>
                    <a:pt x="1365" y="310"/>
                    <a:pt x="1365" y="310"/>
                    <a:pt x="1366" y="311"/>
                  </a:cubicBezTo>
                  <a:moveTo>
                    <a:pt x="1366" y="311"/>
                  </a:moveTo>
                  <a:cubicBezTo>
                    <a:pt x="1366" y="312"/>
                    <a:pt x="1366" y="312"/>
                    <a:pt x="1367" y="312"/>
                  </a:cubicBezTo>
                  <a:moveTo>
                    <a:pt x="1367" y="312"/>
                  </a:moveTo>
                  <a:cubicBezTo>
                    <a:pt x="1367" y="313"/>
                    <a:pt x="1367" y="313"/>
                    <a:pt x="1368" y="313"/>
                  </a:cubicBezTo>
                  <a:moveTo>
                    <a:pt x="1368" y="313"/>
                  </a:moveTo>
                  <a:cubicBezTo>
                    <a:pt x="1374" y="324"/>
                    <a:pt x="1380" y="335"/>
                    <a:pt x="1388" y="345"/>
                  </a:cubicBezTo>
                  <a:cubicBezTo>
                    <a:pt x="1386" y="330"/>
                    <a:pt x="1375" y="324"/>
                    <a:pt x="1368" y="313"/>
                  </a:cubicBezTo>
                  <a:moveTo>
                    <a:pt x="1368" y="313"/>
                  </a:moveTo>
                  <a:cubicBezTo>
                    <a:pt x="1368" y="313"/>
                    <a:pt x="1367" y="312"/>
                    <a:pt x="1367" y="312"/>
                  </a:cubicBezTo>
                  <a:moveTo>
                    <a:pt x="1367" y="312"/>
                  </a:moveTo>
                  <a:cubicBezTo>
                    <a:pt x="1367" y="311"/>
                    <a:pt x="1367" y="311"/>
                    <a:pt x="1366" y="311"/>
                  </a:cubicBezTo>
                  <a:moveTo>
                    <a:pt x="1366" y="311"/>
                  </a:moveTo>
                  <a:cubicBezTo>
                    <a:pt x="1366" y="310"/>
                    <a:pt x="1365" y="310"/>
                    <a:pt x="1365" y="310"/>
                  </a:cubicBezTo>
                  <a:moveTo>
                    <a:pt x="1365" y="310"/>
                  </a:moveTo>
                  <a:cubicBezTo>
                    <a:pt x="1365" y="309"/>
                    <a:pt x="1365" y="309"/>
                    <a:pt x="1364" y="309"/>
                  </a:cubicBezTo>
                  <a:moveTo>
                    <a:pt x="1364" y="309"/>
                  </a:moveTo>
                  <a:cubicBezTo>
                    <a:pt x="1363" y="307"/>
                    <a:pt x="1363" y="309"/>
                    <a:pt x="1364" y="309"/>
                  </a:cubicBezTo>
                  <a:moveTo>
                    <a:pt x="1379" y="323"/>
                  </a:moveTo>
                  <a:cubicBezTo>
                    <a:pt x="1380" y="324"/>
                    <a:pt x="1380" y="323"/>
                    <a:pt x="1379" y="323"/>
                  </a:cubicBezTo>
                  <a:moveTo>
                    <a:pt x="1379" y="323"/>
                  </a:moveTo>
                  <a:cubicBezTo>
                    <a:pt x="1379" y="322"/>
                    <a:pt x="1378" y="323"/>
                    <a:pt x="1379" y="323"/>
                  </a:cubicBezTo>
                  <a:moveTo>
                    <a:pt x="160" y="332"/>
                  </a:moveTo>
                  <a:cubicBezTo>
                    <a:pt x="159" y="332"/>
                    <a:pt x="160" y="333"/>
                    <a:pt x="160" y="332"/>
                  </a:cubicBezTo>
                  <a:moveTo>
                    <a:pt x="160" y="332"/>
                  </a:moveTo>
                  <a:cubicBezTo>
                    <a:pt x="161" y="331"/>
                    <a:pt x="160" y="330"/>
                    <a:pt x="160" y="332"/>
                  </a:cubicBezTo>
                  <a:moveTo>
                    <a:pt x="224" y="334"/>
                  </a:moveTo>
                  <a:cubicBezTo>
                    <a:pt x="224" y="333"/>
                    <a:pt x="225" y="334"/>
                    <a:pt x="224" y="334"/>
                  </a:cubicBezTo>
                  <a:close/>
                  <a:moveTo>
                    <a:pt x="326" y="336"/>
                  </a:moveTo>
                  <a:cubicBezTo>
                    <a:pt x="307" y="364"/>
                    <a:pt x="290" y="395"/>
                    <a:pt x="274" y="426"/>
                  </a:cubicBezTo>
                  <a:cubicBezTo>
                    <a:pt x="285" y="423"/>
                    <a:pt x="296" y="421"/>
                    <a:pt x="306" y="419"/>
                  </a:cubicBezTo>
                  <a:cubicBezTo>
                    <a:pt x="311" y="390"/>
                    <a:pt x="319" y="364"/>
                    <a:pt x="326" y="336"/>
                  </a:cubicBezTo>
                  <a:moveTo>
                    <a:pt x="326" y="336"/>
                  </a:moveTo>
                  <a:cubicBezTo>
                    <a:pt x="329" y="336"/>
                    <a:pt x="325" y="332"/>
                    <a:pt x="326" y="336"/>
                  </a:cubicBezTo>
                  <a:moveTo>
                    <a:pt x="44" y="524"/>
                  </a:moveTo>
                  <a:cubicBezTo>
                    <a:pt x="49" y="523"/>
                    <a:pt x="54" y="514"/>
                    <a:pt x="59" y="510"/>
                  </a:cubicBezTo>
                  <a:cubicBezTo>
                    <a:pt x="80" y="455"/>
                    <a:pt x="109" y="407"/>
                    <a:pt x="139" y="360"/>
                  </a:cubicBezTo>
                  <a:cubicBezTo>
                    <a:pt x="134" y="356"/>
                    <a:pt x="135" y="347"/>
                    <a:pt x="133" y="339"/>
                  </a:cubicBezTo>
                  <a:cubicBezTo>
                    <a:pt x="97" y="394"/>
                    <a:pt x="66" y="454"/>
                    <a:pt x="44" y="524"/>
                  </a:cubicBezTo>
                  <a:close/>
                  <a:moveTo>
                    <a:pt x="1483" y="528"/>
                  </a:moveTo>
                  <a:cubicBezTo>
                    <a:pt x="1482" y="532"/>
                    <a:pt x="1486" y="529"/>
                    <a:pt x="1483" y="528"/>
                  </a:cubicBezTo>
                  <a:moveTo>
                    <a:pt x="1483" y="528"/>
                  </a:moveTo>
                  <a:cubicBezTo>
                    <a:pt x="1460" y="465"/>
                    <a:pt x="1432" y="396"/>
                    <a:pt x="1393" y="347"/>
                  </a:cubicBezTo>
                  <a:cubicBezTo>
                    <a:pt x="1393" y="347"/>
                    <a:pt x="1391" y="343"/>
                    <a:pt x="1390" y="345"/>
                  </a:cubicBezTo>
                  <a:cubicBezTo>
                    <a:pt x="1401" y="371"/>
                    <a:pt x="1415" y="395"/>
                    <a:pt x="1425" y="421"/>
                  </a:cubicBezTo>
                  <a:cubicBezTo>
                    <a:pt x="1436" y="447"/>
                    <a:pt x="1448" y="473"/>
                    <a:pt x="1455" y="503"/>
                  </a:cubicBezTo>
                  <a:cubicBezTo>
                    <a:pt x="1466" y="510"/>
                    <a:pt x="1474" y="519"/>
                    <a:pt x="1483" y="528"/>
                  </a:cubicBezTo>
                  <a:moveTo>
                    <a:pt x="1376" y="374"/>
                  </a:moveTo>
                  <a:cubicBezTo>
                    <a:pt x="1396" y="402"/>
                    <a:pt x="1417" y="437"/>
                    <a:pt x="1432" y="470"/>
                  </a:cubicBezTo>
                  <a:cubicBezTo>
                    <a:pt x="1437" y="481"/>
                    <a:pt x="1440" y="496"/>
                    <a:pt x="1452" y="499"/>
                  </a:cubicBezTo>
                  <a:cubicBezTo>
                    <a:pt x="1435" y="446"/>
                    <a:pt x="1415" y="397"/>
                    <a:pt x="1389" y="354"/>
                  </a:cubicBezTo>
                  <a:cubicBezTo>
                    <a:pt x="1386" y="362"/>
                    <a:pt x="1380" y="367"/>
                    <a:pt x="1376" y="374"/>
                  </a:cubicBezTo>
                  <a:close/>
                  <a:moveTo>
                    <a:pt x="212" y="356"/>
                  </a:moveTo>
                  <a:cubicBezTo>
                    <a:pt x="212" y="355"/>
                    <a:pt x="213" y="356"/>
                    <a:pt x="212" y="356"/>
                  </a:cubicBezTo>
                  <a:close/>
                  <a:moveTo>
                    <a:pt x="211" y="358"/>
                  </a:moveTo>
                  <a:cubicBezTo>
                    <a:pt x="202" y="370"/>
                    <a:pt x="193" y="382"/>
                    <a:pt x="186" y="396"/>
                  </a:cubicBezTo>
                  <a:cubicBezTo>
                    <a:pt x="190" y="396"/>
                    <a:pt x="192" y="399"/>
                    <a:pt x="196" y="400"/>
                  </a:cubicBezTo>
                  <a:cubicBezTo>
                    <a:pt x="201" y="386"/>
                    <a:pt x="206" y="372"/>
                    <a:pt x="211" y="358"/>
                  </a:cubicBezTo>
                  <a:moveTo>
                    <a:pt x="211" y="358"/>
                  </a:moveTo>
                  <a:cubicBezTo>
                    <a:pt x="212" y="357"/>
                    <a:pt x="211" y="356"/>
                    <a:pt x="211" y="358"/>
                  </a:cubicBezTo>
                  <a:moveTo>
                    <a:pt x="94" y="487"/>
                  </a:moveTo>
                  <a:cubicBezTo>
                    <a:pt x="109" y="477"/>
                    <a:pt x="127" y="470"/>
                    <a:pt x="146" y="463"/>
                  </a:cubicBezTo>
                  <a:cubicBezTo>
                    <a:pt x="156" y="439"/>
                    <a:pt x="170" y="418"/>
                    <a:pt x="182" y="396"/>
                  </a:cubicBezTo>
                  <a:cubicBezTo>
                    <a:pt x="165" y="389"/>
                    <a:pt x="152" y="378"/>
                    <a:pt x="141" y="365"/>
                  </a:cubicBezTo>
                  <a:cubicBezTo>
                    <a:pt x="123" y="403"/>
                    <a:pt x="103" y="444"/>
                    <a:pt x="94" y="487"/>
                  </a:cubicBezTo>
                  <a:close/>
                  <a:moveTo>
                    <a:pt x="132" y="376"/>
                  </a:moveTo>
                  <a:cubicBezTo>
                    <a:pt x="132" y="375"/>
                    <a:pt x="133" y="376"/>
                    <a:pt x="132" y="376"/>
                  </a:cubicBezTo>
                  <a:close/>
                  <a:moveTo>
                    <a:pt x="1374" y="375"/>
                  </a:moveTo>
                  <a:cubicBezTo>
                    <a:pt x="1368" y="382"/>
                    <a:pt x="1359" y="386"/>
                    <a:pt x="1352" y="391"/>
                  </a:cubicBezTo>
                  <a:cubicBezTo>
                    <a:pt x="1362" y="413"/>
                    <a:pt x="1369" y="437"/>
                    <a:pt x="1375" y="462"/>
                  </a:cubicBezTo>
                  <a:cubicBezTo>
                    <a:pt x="1398" y="469"/>
                    <a:pt x="1420" y="482"/>
                    <a:pt x="1439" y="490"/>
                  </a:cubicBezTo>
                  <a:cubicBezTo>
                    <a:pt x="1419" y="450"/>
                    <a:pt x="1399" y="409"/>
                    <a:pt x="1374" y="375"/>
                  </a:cubicBezTo>
                  <a:close/>
                  <a:moveTo>
                    <a:pt x="131" y="378"/>
                  </a:moveTo>
                  <a:cubicBezTo>
                    <a:pt x="131" y="378"/>
                    <a:pt x="131" y="378"/>
                    <a:pt x="130" y="378"/>
                  </a:cubicBezTo>
                  <a:cubicBezTo>
                    <a:pt x="106" y="418"/>
                    <a:pt x="82" y="459"/>
                    <a:pt x="64" y="505"/>
                  </a:cubicBezTo>
                  <a:moveTo>
                    <a:pt x="64" y="505"/>
                  </a:moveTo>
                  <a:cubicBezTo>
                    <a:pt x="63" y="506"/>
                    <a:pt x="64" y="507"/>
                    <a:pt x="64" y="505"/>
                  </a:cubicBezTo>
                  <a:moveTo>
                    <a:pt x="64" y="505"/>
                  </a:moveTo>
                  <a:cubicBezTo>
                    <a:pt x="73" y="500"/>
                    <a:pt x="80" y="494"/>
                    <a:pt x="90" y="489"/>
                  </a:cubicBezTo>
                  <a:cubicBezTo>
                    <a:pt x="100" y="448"/>
                    <a:pt x="116" y="413"/>
                    <a:pt x="131" y="378"/>
                  </a:cubicBezTo>
                  <a:moveTo>
                    <a:pt x="131" y="378"/>
                  </a:moveTo>
                  <a:cubicBezTo>
                    <a:pt x="133" y="377"/>
                    <a:pt x="131" y="377"/>
                    <a:pt x="131" y="378"/>
                  </a:cubicBezTo>
                  <a:moveTo>
                    <a:pt x="620" y="385"/>
                  </a:moveTo>
                  <a:cubicBezTo>
                    <a:pt x="619" y="415"/>
                    <a:pt x="617" y="444"/>
                    <a:pt x="616" y="473"/>
                  </a:cubicBezTo>
                  <a:cubicBezTo>
                    <a:pt x="654" y="475"/>
                    <a:pt x="693" y="476"/>
                    <a:pt x="732" y="477"/>
                  </a:cubicBezTo>
                  <a:cubicBezTo>
                    <a:pt x="733" y="445"/>
                    <a:pt x="734" y="414"/>
                    <a:pt x="735" y="383"/>
                  </a:cubicBezTo>
                  <a:cubicBezTo>
                    <a:pt x="695" y="382"/>
                    <a:pt x="658" y="384"/>
                    <a:pt x="620" y="385"/>
                  </a:cubicBezTo>
                  <a:close/>
                  <a:moveTo>
                    <a:pt x="739" y="383"/>
                  </a:moveTo>
                  <a:cubicBezTo>
                    <a:pt x="736" y="412"/>
                    <a:pt x="736" y="445"/>
                    <a:pt x="735" y="477"/>
                  </a:cubicBezTo>
                  <a:cubicBezTo>
                    <a:pt x="753" y="477"/>
                    <a:pt x="771" y="477"/>
                    <a:pt x="789" y="477"/>
                  </a:cubicBezTo>
                  <a:cubicBezTo>
                    <a:pt x="789" y="445"/>
                    <a:pt x="787" y="415"/>
                    <a:pt x="788" y="383"/>
                  </a:cubicBezTo>
                  <a:cubicBezTo>
                    <a:pt x="772" y="383"/>
                    <a:pt x="755" y="383"/>
                    <a:pt x="739" y="383"/>
                  </a:cubicBezTo>
                  <a:close/>
                  <a:moveTo>
                    <a:pt x="792" y="383"/>
                  </a:moveTo>
                  <a:cubicBezTo>
                    <a:pt x="790" y="412"/>
                    <a:pt x="791" y="446"/>
                    <a:pt x="791" y="477"/>
                  </a:cubicBezTo>
                  <a:cubicBezTo>
                    <a:pt x="831" y="476"/>
                    <a:pt x="871" y="475"/>
                    <a:pt x="910" y="473"/>
                  </a:cubicBezTo>
                  <a:cubicBezTo>
                    <a:pt x="905" y="443"/>
                    <a:pt x="901" y="414"/>
                    <a:pt x="895" y="385"/>
                  </a:cubicBezTo>
                  <a:cubicBezTo>
                    <a:pt x="862" y="384"/>
                    <a:pt x="827" y="382"/>
                    <a:pt x="792" y="383"/>
                  </a:cubicBezTo>
                  <a:close/>
                  <a:moveTo>
                    <a:pt x="616" y="385"/>
                  </a:moveTo>
                  <a:cubicBezTo>
                    <a:pt x="616" y="385"/>
                    <a:pt x="615" y="385"/>
                    <a:pt x="615" y="385"/>
                  </a:cubicBezTo>
                  <a:cubicBezTo>
                    <a:pt x="603" y="387"/>
                    <a:pt x="589" y="387"/>
                    <a:pt x="577" y="388"/>
                  </a:cubicBezTo>
                  <a:cubicBezTo>
                    <a:pt x="571" y="416"/>
                    <a:pt x="564" y="441"/>
                    <a:pt x="559" y="470"/>
                  </a:cubicBezTo>
                  <a:cubicBezTo>
                    <a:pt x="578" y="470"/>
                    <a:pt x="595" y="472"/>
                    <a:pt x="613" y="473"/>
                  </a:cubicBezTo>
                  <a:cubicBezTo>
                    <a:pt x="612" y="443"/>
                    <a:pt x="617" y="409"/>
                    <a:pt x="616" y="385"/>
                  </a:cubicBezTo>
                  <a:close/>
                  <a:moveTo>
                    <a:pt x="914" y="473"/>
                  </a:moveTo>
                  <a:cubicBezTo>
                    <a:pt x="930" y="472"/>
                    <a:pt x="946" y="470"/>
                    <a:pt x="963" y="470"/>
                  </a:cubicBezTo>
                  <a:cubicBezTo>
                    <a:pt x="960" y="443"/>
                    <a:pt x="960" y="414"/>
                    <a:pt x="957" y="388"/>
                  </a:cubicBezTo>
                  <a:cubicBezTo>
                    <a:pt x="937" y="388"/>
                    <a:pt x="919" y="386"/>
                    <a:pt x="900" y="385"/>
                  </a:cubicBezTo>
                  <a:cubicBezTo>
                    <a:pt x="904" y="415"/>
                    <a:pt x="910" y="442"/>
                    <a:pt x="914" y="473"/>
                  </a:cubicBezTo>
                  <a:close/>
                  <a:moveTo>
                    <a:pt x="456" y="399"/>
                  </a:moveTo>
                  <a:cubicBezTo>
                    <a:pt x="454" y="419"/>
                    <a:pt x="451" y="438"/>
                    <a:pt x="450" y="459"/>
                  </a:cubicBezTo>
                  <a:cubicBezTo>
                    <a:pt x="486" y="462"/>
                    <a:pt x="520" y="467"/>
                    <a:pt x="557" y="469"/>
                  </a:cubicBezTo>
                  <a:cubicBezTo>
                    <a:pt x="561" y="441"/>
                    <a:pt x="569" y="416"/>
                    <a:pt x="574" y="388"/>
                  </a:cubicBezTo>
                  <a:cubicBezTo>
                    <a:pt x="534" y="391"/>
                    <a:pt x="494" y="394"/>
                    <a:pt x="456" y="399"/>
                  </a:cubicBezTo>
                  <a:close/>
                  <a:moveTo>
                    <a:pt x="960" y="389"/>
                  </a:moveTo>
                  <a:cubicBezTo>
                    <a:pt x="962" y="415"/>
                    <a:pt x="964" y="441"/>
                    <a:pt x="965" y="469"/>
                  </a:cubicBezTo>
                  <a:cubicBezTo>
                    <a:pt x="1003" y="467"/>
                    <a:pt x="1042" y="464"/>
                    <a:pt x="1076" y="457"/>
                  </a:cubicBezTo>
                  <a:cubicBezTo>
                    <a:pt x="1068" y="438"/>
                    <a:pt x="1062" y="417"/>
                    <a:pt x="1055" y="397"/>
                  </a:cubicBezTo>
                  <a:cubicBezTo>
                    <a:pt x="1023" y="395"/>
                    <a:pt x="993" y="391"/>
                    <a:pt x="960" y="389"/>
                  </a:cubicBezTo>
                  <a:close/>
                  <a:moveTo>
                    <a:pt x="1349" y="392"/>
                  </a:moveTo>
                  <a:cubicBezTo>
                    <a:pt x="1340" y="398"/>
                    <a:pt x="1329" y="402"/>
                    <a:pt x="1319" y="407"/>
                  </a:cubicBezTo>
                  <a:cubicBezTo>
                    <a:pt x="1327" y="421"/>
                    <a:pt x="1335" y="436"/>
                    <a:pt x="1343" y="451"/>
                  </a:cubicBezTo>
                  <a:cubicBezTo>
                    <a:pt x="1354" y="453"/>
                    <a:pt x="1362" y="458"/>
                    <a:pt x="1373" y="460"/>
                  </a:cubicBezTo>
                  <a:cubicBezTo>
                    <a:pt x="1366" y="439"/>
                    <a:pt x="1359" y="407"/>
                    <a:pt x="1349" y="392"/>
                  </a:cubicBezTo>
                  <a:close/>
                  <a:moveTo>
                    <a:pt x="184" y="398"/>
                  </a:moveTo>
                  <a:cubicBezTo>
                    <a:pt x="173" y="419"/>
                    <a:pt x="160" y="439"/>
                    <a:pt x="150" y="461"/>
                  </a:cubicBezTo>
                  <a:cubicBezTo>
                    <a:pt x="160" y="458"/>
                    <a:pt x="170" y="454"/>
                    <a:pt x="181" y="451"/>
                  </a:cubicBezTo>
                  <a:cubicBezTo>
                    <a:pt x="185" y="434"/>
                    <a:pt x="190" y="419"/>
                    <a:pt x="195" y="403"/>
                  </a:cubicBezTo>
                  <a:cubicBezTo>
                    <a:pt x="191" y="401"/>
                    <a:pt x="188" y="399"/>
                    <a:pt x="184" y="398"/>
                  </a:cubicBezTo>
                  <a:close/>
                  <a:moveTo>
                    <a:pt x="1079" y="458"/>
                  </a:moveTo>
                  <a:cubicBezTo>
                    <a:pt x="1094" y="457"/>
                    <a:pt x="1108" y="454"/>
                    <a:pt x="1123" y="453"/>
                  </a:cubicBezTo>
                  <a:cubicBezTo>
                    <a:pt x="1122" y="436"/>
                    <a:pt x="1119" y="421"/>
                    <a:pt x="1117" y="405"/>
                  </a:cubicBezTo>
                  <a:cubicBezTo>
                    <a:pt x="1097" y="404"/>
                    <a:pt x="1077" y="398"/>
                    <a:pt x="1058" y="399"/>
                  </a:cubicBezTo>
                  <a:cubicBezTo>
                    <a:pt x="1066" y="417"/>
                    <a:pt x="1071" y="439"/>
                    <a:pt x="1079" y="458"/>
                  </a:cubicBezTo>
                  <a:close/>
                  <a:moveTo>
                    <a:pt x="420" y="403"/>
                  </a:moveTo>
                  <a:cubicBezTo>
                    <a:pt x="414" y="419"/>
                    <a:pt x="407" y="435"/>
                    <a:pt x="401" y="453"/>
                  </a:cubicBezTo>
                  <a:cubicBezTo>
                    <a:pt x="417" y="454"/>
                    <a:pt x="431" y="457"/>
                    <a:pt x="447" y="458"/>
                  </a:cubicBezTo>
                  <a:cubicBezTo>
                    <a:pt x="449" y="438"/>
                    <a:pt x="451" y="418"/>
                    <a:pt x="454" y="399"/>
                  </a:cubicBezTo>
                  <a:cubicBezTo>
                    <a:pt x="453" y="399"/>
                    <a:pt x="453" y="399"/>
                    <a:pt x="452" y="399"/>
                  </a:cubicBezTo>
                  <a:cubicBezTo>
                    <a:pt x="442" y="401"/>
                    <a:pt x="431" y="402"/>
                    <a:pt x="420" y="403"/>
                  </a:cubicBezTo>
                  <a:close/>
                  <a:moveTo>
                    <a:pt x="185" y="450"/>
                  </a:moveTo>
                  <a:cubicBezTo>
                    <a:pt x="210" y="440"/>
                    <a:pt x="240" y="435"/>
                    <a:pt x="266" y="427"/>
                  </a:cubicBezTo>
                  <a:cubicBezTo>
                    <a:pt x="241" y="421"/>
                    <a:pt x="219" y="413"/>
                    <a:pt x="198" y="404"/>
                  </a:cubicBezTo>
                  <a:cubicBezTo>
                    <a:pt x="193" y="418"/>
                    <a:pt x="187" y="436"/>
                    <a:pt x="185" y="450"/>
                  </a:cubicBezTo>
                  <a:close/>
                  <a:moveTo>
                    <a:pt x="308" y="421"/>
                  </a:moveTo>
                  <a:cubicBezTo>
                    <a:pt x="307" y="425"/>
                    <a:pt x="307" y="430"/>
                    <a:pt x="305" y="434"/>
                  </a:cubicBezTo>
                  <a:cubicBezTo>
                    <a:pt x="335" y="441"/>
                    <a:pt x="366" y="447"/>
                    <a:pt x="398" y="452"/>
                  </a:cubicBezTo>
                  <a:cubicBezTo>
                    <a:pt x="401" y="444"/>
                    <a:pt x="405" y="436"/>
                    <a:pt x="408" y="428"/>
                  </a:cubicBezTo>
                  <a:cubicBezTo>
                    <a:pt x="411" y="419"/>
                    <a:pt x="416" y="410"/>
                    <a:pt x="414" y="404"/>
                  </a:cubicBezTo>
                  <a:cubicBezTo>
                    <a:pt x="378" y="409"/>
                    <a:pt x="343" y="415"/>
                    <a:pt x="308" y="421"/>
                  </a:cubicBezTo>
                  <a:close/>
                  <a:moveTo>
                    <a:pt x="1126" y="452"/>
                  </a:moveTo>
                  <a:cubicBezTo>
                    <a:pt x="1156" y="447"/>
                    <a:pt x="1185" y="442"/>
                    <a:pt x="1213" y="435"/>
                  </a:cubicBezTo>
                  <a:cubicBezTo>
                    <a:pt x="1212" y="429"/>
                    <a:pt x="1208" y="425"/>
                    <a:pt x="1206" y="419"/>
                  </a:cubicBezTo>
                  <a:cubicBezTo>
                    <a:pt x="1178" y="415"/>
                    <a:pt x="1148" y="407"/>
                    <a:pt x="1119" y="407"/>
                  </a:cubicBezTo>
                  <a:cubicBezTo>
                    <a:pt x="1123" y="420"/>
                    <a:pt x="1123" y="437"/>
                    <a:pt x="1126" y="452"/>
                  </a:cubicBezTo>
                  <a:close/>
                  <a:moveTo>
                    <a:pt x="1317" y="408"/>
                  </a:moveTo>
                  <a:cubicBezTo>
                    <a:pt x="1298" y="416"/>
                    <a:pt x="1277" y="420"/>
                    <a:pt x="1260" y="429"/>
                  </a:cubicBezTo>
                  <a:cubicBezTo>
                    <a:pt x="1288" y="434"/>
                    <a:pt x="1313" y="441"/>
                    <a:pt x="1338" y="449"/>
                  </a:cubicBezTo>
                  <a:cubicBezTo>
                    <a:pt x="1332" y="434"/>
                    <a:pt x="1323" y="423"/>
                    <a:pt x="1317" y="408"/>
                  </a:cubicBezTo>
                  <a:close/>
                  <a:moveTo>
                    <a:pt x="1216" y="434"/>
                  </a:moveTo>
                  <a:cubicBezTo>
                    <a:pt x="1226" y="433"/>
                    <a:pt x="1237" y="431"/>
                    <a:pt x="1245" y="427"/>
                  </a:cubicBezTo>
                  <a:cubicBezTo>
                    <a:pt x="1232" y="426"/>
                    <a:pt x="1220" y="420"/>
                    <a:pt x="1209" y="421"/>
                  </a:cubicBezTo>
                  <a:cubicBezTo>
                    <a:pt x="1213" y="424"/>
                    <a:pt x="1214" y="430"/>
                    <a:pt x="1216" y="434"/>
                  </a:cubicBezTo>
                  <a:close/>
                  <a:moveTo>
                    <a:pt x="279" y="427"/>
                  </a:moveTo>
                  <a:cubicBezTo>
                    <a:pt x="285" y="431"/>
                    <a:pt x="295" y="431"/>
                    <a:pt x="303" y="433"/>
                  </a:cubicBezTo>
                  <a:cubicBezTo>
                    <a:pt x="303" y="429"/>
                    <a:pt x="305" y="426"/>
                    <a:pt x="305" y="422"/>
                  </a:cubicBezTo>
                  <a:cubicBezTo>
                    <a:pt x="296" y="423"/>
                    <a:pt x="289" y="426"/>
                    <a:pt x="279" y="427"/>
                  </a:cubicBezTo>
                  <a:close/>
                  <a:moveTo>
                    <a:pt x="1218" y="437"/>
                  </a:moveTo>
                  <a:cubicBezTo>
                    <a:pt x="1240" y="486"/>
                    <a:pt x="1259" y="538"/>
                    <a:pt x="1277" y="593"/>
                  </a:cubicBezTo>
                  <a:cubicBezTo>
                    <a:pt x="1275" y="533"/>
                    <a:pt x="1270" y="478"/>
                    <a:pt x="1257" y="430"/>
                  </a:cubicBezTo>
                  <a:cubicBezTo>
                    <a:pt x="1244" y="429"/>
                    <a:pt x="1232" y="435"/>
                    <a:pt x="1218" y="437"/>
                  </a:cubicBezTo>
                  <a:close/>
                  <a:moveTo>
                    <a:pt x="183" y="453"/>
                  </a:moveTo>
                  <a:cubicBezTo>
                    <a:pt x="169" y="514"/>
                    <a:pt x="159" y="583"/>
                    <a:pt x="163" y="659"/>
                  </a:cubicBezTo>
                  <a:cubicBezTo>
                    <a:pt x="171" y="655"/>
                    <a:pt x="179" y="652"/>
                    <a:pt x="188" y="650"/>
                  </a:cubicBezTo>
                  <a:cubicBezTo>
                    <a:pt x="208" y="570"/>
                    <a:pt x="235" y="496"/>
                    <a:pt x="270" y="430"/>
                  </a:cubicBezTo>
                  <a:cubicBezTo>
                    <a:pt x="269" y="430"/>
                    <a:pt x="268" y="430"/>
                    <a:pt x="268" y="430"/>
                  </a:cubicBezTo>
                  <a:cubicBezTo>
                    <a:pt x="239" y="437"/>
                    <a:pt x="210" y="444"/>
                    <a:pt x="183" y="453"/>
                  </a:cubicBezTo>
                  <a:close/>
                  <a:moveTo>
                    <a:pt x="192" y="648"/>
                  </a:moveTo>
                  <a:cubicBezTo>
                    <a:pt x="190" y="649"/>
                    <a:pt x="192" y="650"/>
                    <a:pt x="192" y="648"/>
                  </a:cubicBezTo>
                  <a:moveTo>
                    <a:pt x="192" y="648"/>
                  </a:moveTo>
                  <a:cubicBezTo>
                    <a:pt x="223" y="640"/>
                    <a:pt x="254" y="630"/>
                    <a:pt x="289" y="623"/>
                  </a:cubicBezTo>
                  <a:cubicBezTo>
                    <a:pt x="287" y="555"/>
                    <a:pt x="293" y="494"/>
                    <a:pt x="302" y="436"/>
                  </a:cubicBezTo>
                  <a:cubicBezTo>
                    <a:pt x="292" y="434"/>
                    <a:pt x="283" y="431"/>
                    <a:pt x="272" y="430"/>
                  </a:cubicBezTo>
                  <a:cubicBezTo>
                    <a:pt x="239" y="496"/>
                    <a:pt x="211" y="568"/>
                    <a:pt x="192" y="648"/>
                  </a:cubicBezTo>
                  <a:moveTo>
                    <a:pt x="1275" y="515"/>
                  </a:moveTo>
                  <a:cubicBezTo>
                    <a:pt x="1279" y="557"/>
                    <a:pt x="1276" y="605"/>
                    <a:pt x="1288" y="636"/>
                  </a:cubicBezTo>
                  <a:cubicBezTo>
                    <a:pt x="1316" y="643"/>
                    <a:pt x="1341" y="652"/>
                    <a:pt x="1367" y="660"/>
                  </a:cubicBezTo>
                  <a:cubicBezTo>
                    <a:pt x="1377" y="657"/>
                    <a:pt x="1386" y="652"/>
                    <a:pt x="1397" y="648"/>
                  </a:cubicBezTo>
                  <a:cubicBezTo>
                    <a:pt x="1395" y="622"/>
                    <a:pt x="1398" y="600"/>
                    <a:pt x="1394" y="577"/>
                  </a:cubicBezTo>
                  <a:cubicBezTo>
                    <a:pt x="1392" y="567"/>
                    <a:pt x="1386" y="555"/>
                    <a:pt x="1382" y="545"/>
                  </a:cubicBezTo>
                  <a:cubicBezTo>
                    <a:pt x="1370" y="512"/>
                    <a:pt x="1354" y="481"/>
                    <a:pt x="1340" y="452"/>
                  </a:cubicBezTo>
                  <a:cubicBezTo>
                    <a:pt x="1314" y="444"/>
                    <a:pt x="1288" y="437"/>
                    <a:pt x="1261" y="431"/>
                  </a:cubicBezTo>
                  <a:cubicBezTo>
                    <a:pt x="1266" y="456"/>
                    <a:pt x="1272" y="485"/>
                    <a:pt x="1275" y="515"/>
                  </a:cubicBezTo>
                  <a:close/>
                  <a:moveTo>
                    <a:pt x="305" y="437"/>
                  </a:moveTo>
                  <a:cubicBezTo>
                    <a:pt x="295" y="493"/>
                    <a:pt x="288" y="559"/>
                    <a:pt x="293" y="623"/>
                  </a:cubicBezTo>
                  <a:cubicBezTo>
                    <a:pt x="311" y="617"/>
                    <a:pt x="332" y="615"/>
                    <a:pt x="351" y="610"/>
                  </a:cubicBezTo>
                  <a:cubicBezTo>
                    <a:pt x="364" y="556"/>
                    <a:pt x="379" y="504"/>
                    <a:pt x="397" y="455"/>
                  </a:cubicBezTo>
                  <a:cubicBezTo>
                    <a:pt x="366" y="449"/>
                    <a:pt x="335" y="444"/>
                    <a:pt x="305" y="437"/>
                  </a:cubicBezTo>
                  <a:close/>
                  <a:moveTo>
                    <a:pt x="1126" y="455"/>
                  </a:moveTo>
                  <a:cubicBezTo>
                    <a:pt x="1131" y="501"/>
                    <a:pt x="1133" y="551"/>
                    <a:pt x="1133" y="603"/>
                  </a:cubicBezTo>
                  <a:cubicBezTo>
                    <a:pt x="1182" y="612"/>
                    <a:pt x="1231" y="620"/>
                    <a:pt x="1277" y="633"/>
                  </a:cubicBezTo>
                  <a:cubicBezTo>
                    <a:pt x="1279" y="602"/>
                    <a:pt x="1270" y="583"/>
                    <a:pt x="1263" y="561"/>
                  </a:cubicBezTo>
                  <a:cubicBezTo>
                    <a:pt x="1248" y="517"/>
                    <a:pt x="1234" y="477"/>
                    <a:pt x="1215" y="438"/>
                  </a:cubicBezTo>
                  <a:cubicBezTo>
                    <a:pt x="1214" y="438"/>
                    <a:pt x="1214" y="438"/>
                    <a:pt x="1213" y="438"/>
                  </a:cubicBezTo>
                  <a:cubicBezTo>
                    <a:pt x="1185" y="445"/>
                    <a:pt x="1156" y="450"/>
                    <a:pt x="1126" y="455"/>
                  </a:cubicBezTo>
                  <a:close/>
                  <a:moveTo>
                    <a:pt x="179" y="454"/>
                  </a:moveTo>
                  <a:cubicBezTo>
                    <a:pt x="168" y="457"/>
                    <a:pt x="158" y="461"/>
                    <a:pt x="147" y="465"/>
                  </a:cubicBezTo>
                  <a:cubicBezTo>
                    <a:pt x="123" y="516"/>
                    <a:pt x="101" y="568"/>
                    <a:pt x="85" y="627"/>
                  </a:cubicBezTo>
                  <a:cubicBezTo>
                    <a:pt x="108" y="640"/>
                    <a:pt x="131" y="652"/>
                    <a:pt x="159" y="660"/>
                  </a:cubicBezTo>
                  <a:cubicBezTo>
                    <a:pt x="157" y="583"/>
                    <a:pt x="168" y="513"/>
                    <a:pt x="179" y="454"/>
                  </a:cubicBezTo>
                  <a:close/>
                  <a:moveTo>
                    <a:pt x="1392" y="564"/>
                  </a:moveTo>
                  <a:cubicBezTo>
                    <a:pt x="1388" y="528"/>
                    <a:pt x="1381" y="495"/>
                    <a:pt x="1374" y="463"/>
                  </a:cubicBezTo>
                  <a:cubicBezTo>
                    <a:pt x="1363" y="461"/>
                    <a:pt x="1354" y="457"/>
                    <a:pt x="1345" y="454"/>
                  </a:cubicBezTo>
                  <a:cubicBezTo>
                    <a:pt x="1362" y="489"/>
                    <a:pt x="1378" y="525"/>
                    <a:pt x="1392" y="564"/>
                  </a:cubicBezTo>
                  <a:close/>
                  <a:moveTo>
                    <a:pt x="401" y="455"/>
                  </a:moveTo>
                  <a:cubicBezTo>
                    <a:pt x="382" y="503"/>
                    <a:pt x="367" y="556"/>
                    <a:pt x="354" y="610"/>
                  </a:cubicBezTo>
                  <a:cubicBezTo>
                    <a:pt x="383" y="605"/>
                    <a:pt x="412" y="600"/>
                    <a:pt x="442" y="597"/>
                  </a:cubicBezTo>
                  <a:cubicBezTo>
                    <a:pt x="442" y="550"/>
                    <a:pt x="443" y="504"/>
                    <a:pt x="447" y="461"/>
                  </a:cubicBezTo>
                  <a:cubicBezTo>
                    <a:pt x="432" y="459"/>
                    <a:pt x="415" y="458"/>
                    <a:pt x="401" y="455"/>
                  </a:cubicBezTo>
                  <a:close/>
                  <a:moveTo>
                    <a:pt x="1080" y="461"/>
                  </a:moveTo>
                  <a:cubicBezTo>
                    <a:pt x="1093" y="507"/>
                    <a:pt x="1106" y="553"/>
                    <a:pt x="1116" y="601"/>
                  </a:cubicBezTo>
                  <a:cubicBezTo>
                    <a:pt x="1121" y="602"/>
                    <a:pt x="1125" y="602"/>
                    <a:pt x="1130" y="603"/>
                  </a:cubicBezTo>
                  <a:cubicBezTo>
                    <a:pt x="1130" y="551"/>
                    <a:pt x="1129" y="501"/>
                    <a:pt x="1123" y="455"/>
                  </a:cubicBezTo>
                  <a:cubicBezTo>
                    <a:pt x="1108" y="457"/>
                    <a:pt x="1094" y="459"/>
                    <a:pt x="1080" y="461"/>
                  </a:cubicBezTo>
                  <a:close/>
                  <a:moveTo>
                    <a:pt x="445" y="596"/>
                  </a:moveTo>
                  <a:cubicBezTo>
                    <a:pt x="475" y="592"/>
                    <a:pt x="505" y="589"/>
                    <a:pt x="535" y="586"/>
                  </a:cubicBezTo>
                  <a:cubicBezTo>
                    <a:pt x="542" y="548"/>
                    <a:pt x="548" y="509"/>
                    <a:pt x="556" y="472"/>
                  </a:cubicBezTo>
                  <a:cubicBezTo>
                    <a:pt x="519" y="469"/>
                    <a:pt x="483" y="466"/>
                    <a:pt x="449" y="461"/>
                  </a:cubicBezTo>
                  <a:cubicBezTo>
                    <a:pt x="446" y="504"/>
                    <a:pt x="444" y="549"/>
                    <a:pt x="445" y="596"/>
                  </a:cubicBezTo>
                  <a:close/>
                  <a:moveTo>
                    <a:pt x="965" y="472"/>
                  </a:moveTo>
                  <a:cubicBezTo>
                    <a:pt x="967" y="507"/>
                    <a:pt x="966" y="546"/>
                    <a:pt x="966" y="584"/>
                  </a:cubicBezTo>
                  <a:cubicBezTo>
                    <a:pt x="1016" y="589"/>
                    <a:pt x="1065" y="594"/>
                    <a:pt x="1113" y="600"/>
                  </a:cubicBezTo>
                  <a:cubicBezTo>
                    <a:pt x="1102" y="553"/>
                    <a:pt x="1092" y="503"/>
                    <a:pt x="1075" y="461"/>
                  </a:cubicBezTo>
                  <a:cubicBezTo>
                    <a:pt x="1039" y="466"/>
                    <a:pt x="1003" y="470"/>
                    <a:pt x="965" y="472"/>
                  </a:cubicBezTo>
                  <a:close/>
                  <a:moveTo>
                    <a:pt x="1388" y="521"/>
                  </a:moveTo>
                  <a:cubicBezTo>
                    <a:pt x="1391" y="540"/>
                    <a:pt x="1392" y="559"/>
                    <a:pt x="1396" y="577"/>
                  </a:cubicBezTo>
                  <a:cubicBezTo>
                    <a:pt x="1400" y="600"/>
                    <a:pt x="1412" y="620"/>
                    <a:pt x="1416" y="640"/>
                  </a:cubicBezTo>
                  <a:cubicBezTo>
                    <a:pt x="1437" y="628"/>
                    <a:pt x="1459" y="617"/>
                    <a:pt x="1473" y="599"/>
                  </a:cubicBezTo>
                  <a:cubicBezTo>
                    <a:pt x="1470" y="557"/>
                    <a:pt x="1454" y="529"/>
                    <a:pt x="1442" y="496"/>
                  </a:cubicBezTo>
                  <a:cubicBezTo>
                    <a:pt x="1421" y="484"/>
                    <a:pt x="1400" y="473"/>
                    <a:pt x="1376" y="465"/>
                  </a:cubicBezTo>
                  <a:cubicBezTo>
                    <a:pt x="1381" y="483"/>
                    <a:pt x="1385" y="502"/>
                    <a:pt x="1388" y="521"/>
                  </a:cubicBezTo>
                  <a:close/>
                  <a:moveTo>
                    <a:pt x="91" y="491"/>
                  </a:moveTo>
                  <a:cubicBezTo>
                    <a:pt x="82" y="531"/>
                    <a:pt x="72" y="570"/>
                    <a:pt x="69" y="616"/>
                  </a:cubicBezTo>
                  <a:cubicBezTo>
                    <a:pt x="73" y="619"/>
                    <a:pt x="78" y="623"/>
                    <a:pt x="83" y="625"/>
                  </a:cubicBezTo>
                  <a:cubicBezTo>
                    <a:pt x="98" y="568"/>
                    <a:pt x="121" y="515"/>
                    <a:pt x="142" y="467"/>
                  </a:cubicBezTo>
                  <a:cubicBezTo>
                    <a:pt x="124" y="474"/>
                    <a:pt x="107" y="482"/>
                    <a:pt x="91" y="491"/>
                  </a:cubicBezTo>
                  <a:close/>
                  <a:moveTo>
                    <a:pt x="558" y="472"/>
                  </a:moveTo>
                  <a:cubicBezTo>
                    <a:pt x="551" y="509"/>
                    <a:pt x="545" y="548"/>
                    <a:pt x="538" y="586"/>
                  </a:cubicBezTo>
                  <a:cubicBezTo>
                    <a:pt x="562" y="584"/>
                    <a:pt x="586" y="582"/>
                    <a:pt x="611" y="581"/>
                  </a:cubicBezTo>
                  <a:cubicBezTo>
                    <a:pt x="611" y="545"/>
                    <a:pt x="613" y="511"/>
                    <a:pt x="612" y="476"/>
                  </a:cubicBezTo>
                  <a:cubicBezTo>
                    <a:pt x="594" y="474"/>
                    <a:pt x="576" y="474"/>
                    <a:pt x="558" y="472"/>
                  </a:cubicBezTo>
                  <a:close/>
                  <a:moveTo>
                    <a:pt x="915" y="476"/>
                  </a:moveTo>
                  <a:cubicBezTo>
                    <a:pt x="919" y="511"/>
                    <a:pt x="925" y="546"/>
                    <a:pt x="928" y="582"/>
                  </a:cubicBezTo>
                  <a:cubicBezTo>
                    <a:pt x="941" y="582"/>
                    <a:pt x="952" y="584"/>
                    <a:pt x="965" y="584"/>
                  </a:cubicBezTo>
                  <a:cubicBezTo>
                    <a:pt x="965" y="546"/>
                    <a:pt x="963" y="510"/>
                    <a:pt x="963" y="473"/>
                  </a:cubicBezTo>
                  <a:cubicBezTo>
                    <a:pt x="946" y="473"/>
                    <a:pt x="930" y="474"/>
                    <a:pt x="915" y="476"/>
                  </a:cubicBezTo>
                  <a:close/>
                  <a:moveTo>
                    <a:pt x="617" y="476"/>
                  </a:moveTo>
                  <a:cubicBezTo>
                    <a:pt x="614" y="508"/>
                    <a:pt x="615" y="545"/>
                    <a:pt x="615" y="580"/>
                  </a:cubicBezTo>
                  <a:cubicBezTo>
                    <a:pt x="653" y="579"/>
                    <a:pt x="691" y="577"/>
                    <a:pt x="729" y="576"/>
                  </a:cubicBezTo>
                  <a:cubicBezTo>
                    <a:pt x="731" y="545"/>
                    <a:pt x="731" y="511"/>
                    <a:pt x="732" y="479"/>
                  </a:cubicBezTo>
                  <a:cubicBezTo>
                    <a:pt x="693" y="479"/>
                    <a:pt x="654" y="478"/>
                    <a:pt x="617" y="476"/>
                  </a:cubicBezTo>
                  <a:close/>
                  <a:moveTo>
                    <a:pt x="791" y="479"/>
                  </a:moveTo>
                  <a:cubicBezTo>
                    <a:pt x="791" y="513"/>
                    <a:pt x="791" y="544"/>
                    <a:pt x="791" y="576"/>
                  </a:cubicBezTo>
                  <a:cubicBezTo>
                    <a:pt x="836" y="577"/>
                    <a:pt x="881" y="579"/>
                    <a:pt x="924" y="581"/>
                  </a:cubicBezTo>
                  <a:cubicBezTo>
                    <a:pt x="920" y="546"/>
                    <a:pt x="915" y="511"/>
                    <a:pt x="911" y="476"/>
                  </a:cubicBezTo>
                  <a:cubicBezTo>
                    <a:pt x="872" y="478"/>
                    <a:pt x="831" y="479"/>
                    <a:pt x="791" y="479"/>
                  </a:cubicBezTo>
                  <a:close/>
                  <a:moveTo>
                    <a:pt x="736" y="479"/>
                  </a:moveTo>
                  <a:cubicBezTo>
                    <a:pt x="732" y="509"/>
                    <a:pt x="734" y="545"/>
                    <a:pt x="732" y="576"/>
                  </a:cubicBezTo>
                  <a:cubicBezTo>
                    <a:pt x="751" y="576"/>
                    <a:pt x="770" y="576"/>
                    <a:pt x="789" y="576"/>
                  </a:cubicBezTo>
                  <a:cubicBezTo>
                    <a:pt x="789" y="544"/>
                    <a:pt x="789" y="512"/>
                    <a:pt x="789" y="479"/>
                  </a:cubicBezTo>
                  <a:cubicBezTo>
                    <a:pt x="771" y="479"/>
                    <a:pt x="754" y="479"/>
                    <a:pt x="736" y="479"/>
                  </a:cubicBezTo>
                  <a:close/>
                  <a:moveTo>
                    <a:pt x="60" y="512"/>
                  </a:moveTo>
                  <a:cubicBezTo>
                    <a:pt x="53" y="535"/>
                    <a:pt x="44" y="556"/>
                    <a:pt x="37" y="580"/>
                  </a:cubicBezTo>
                  <a:cubicBezTo>
                    <a:pt x="45" y="593"/>
                    <a:pt x="53" y="606"/>
                    <a:pt x="67" y="613"/>
                  </a:cubicBezTo>
                  <a:cubicBezTo>
                    <a:pt x="69" y="569"/>
                    <a:pt x="81" y="529"/>
                    <a:pt x="87" y="493"/>
                  </a:cubicBezTo>
                  <a:cubicBezTo>
                    <a:pt x="78" y="499"/>
                    <a:pt x="69" y="505"/>
                    <a:pt x="60" y="512"/>
                  </a:cubicBezTo>
                  <a:close/>
                  <a:moveTo>
                    <a:pt x="1462" y="539"/>
                  </a:moveTo>
                  <a:cubicBezTo>
                    <a:pt x="1461" y="543"/>
                    <a:pt x="1465" y="539"/>
                    <a:pt x="1462" y="539"/>
                  </a:cubicBezTo>
                  <a:moveTo>
                    <a:pt x="1462" y="539"/>
                  </a:moveTo>
                  <a:cubicBezTo>
                    <a:pt x="1458" y="526"/>
                    <a:pt x="1458" y="502"/>
                    <a:pt x="1446" y="501"/>
                  </a:cubicBezTo>
                  <a:cubicBezTo>
                    <a:pt x="1452" y="512"/>
                    <a:pt x="1456" y="526"/>
                    <a:pt x="1462" y="539"/>
                  </a:cubicBezTo>
                  <a:moveTo>
                    <a:pt x="1480" y="592"/>
                  </a:moveTo>
                  <a:cubicBezTo>
                    <a:pt x="1504" y="563"/>
                    <a:pt x="1482" y="521"/>
                    <a:pt x="1457" y="507"/>
                  </a:cubicBezTo>
                  <a:cubicBezTo>
                    <a:pt x="1465" y="535"/>
                    <a:pt x="1469" y="567"/>
                    <a:pt x="1480" y="592"/>
                  </a:cubicBezTo>
                  <a:close/>
                  <a:moveTo>
                    <a:pt x="36" y="575"/>
                  </a:moveTo>
                  <a:cubicBezTo>
                    <a:pt x="40" y="555"/>
                    <a:pt x="51" y="536"/>
                    <a:pt x="54" y="517"/>
                  </a:cubicBezTo>
                  <a:cubicBezTo>
                    <a:pt x="42" y="529"/>
                    <a:pt x="28" y="553"/>
                    <a:pt x="36" y="575"/>
                  </a:cubicBezTo>
                  <a:close/>
                  <a:moveTo>
                    <a:pt x="1463" y="544"/>
                  </a:moveTo>
                  <a:cubicBezTo>
                    <a:pt x="1462" y="543"/>
                    <a:pt x="1463" y="544"/>
                    <a:pt x="1463" y="544"/>
                  </a:cubicBezTo>
                  <a:close/>
                  <a:moveTo>
                    <a:pt x="1480" y="597"/>
                  </a:moveTo>
                  <a:cubicBezTo>
                    <a:pt x="1494" y="642"/>
                    <a:pt x="1503" y="692"/>
                    <a:pt x="1508" y="747"/>
                  </a:cubicBezTo>
                  <a:cubicBezTo>
                    <a:pt x="1512" y="753"/>
                    <a:pt x="1516" y="760"/>
                    <a:pt x="1519" y="767"/>
                  </a:cubicBezTo>
                  <a:cubicBezTo>
                    <a:pt x="1521" y="690"/>
                    <a:pt x="1511" y="622"/>
                    <a:pt x="1494" y="563"/>
                  </a:cubicBezTo>
                  <a:cubicBezTo>
                    <a:pt x="1493" y="578"/>
                    <a:pt x="1486" y="587"/>
                    <a:pt x="1480" y="597"/>
                  </a:cubicBezTo>
                  <a:close/>
                  <a:moveTo>
                    <a:pt x="17" y="654"/>
                  </a:moveTo>
                  <a:cubicBezTo>
                    <a:pt x="21" y="628"/>
                    <a:pt x="28" y="604"/>
                    <a:pt x="34" y="580"/>
                  </a:cubicBezTo>
                  <a:cubicBezTo>
                    <a:pt x="33" y="577"/>
                    <a:pt x="32" y="573"/>
                    <a:pt x="30" y="570"/>
                  </a:cubicBezTo>
                  <a:cubicBezTo>
                    <a:pt x="26" y="597"/>
                    <a:pt x="18" y="626"/>
                    <a:pt x="17" y="654"/>
                  </a:cubicBezTo>
                  <a:close/>
                  <a:moveTo>
                    <a:pt x="615" y="583"/>
                  </a:moveTo>
                  <a:cubicBezTo>
                    <a:pt x="616" y="635"/>
                    <a:pt x="617" y="686"/>
                    <a:pt x="620" y="736"/>
                  </a:cubicBezTo>
                  <a:cubicBezTo>
                    <a:pt x="655" y="737"/>
                    <a:pt x="690" y="739"/>
                    <a:pt x="726" y="739"/>
                  </a:cubicBezTo>
                  <a:cubicBezTo>
                    <a:pt x="728" y="686"/>
                    <a:pt x="729" y="633"/>
                    <a:pt x="729" y="579"/>
                  </a:cubicBezTo>
                  <a:cubicBezTo>
                    <a:pt x="690" y="580"/>
                    <a:pt x="652" y="581"/>
                    <a:pt x="615" y="583"/>
                  </a:cubicBezTo>
                  <a:close/>
                  <a:moveTo>
                    <a:pt x="729" y="739"/>
                  </a:moveTo>
                  <a:cubicBezTo>
                    <a:pt x="750" y="738"/>
                    <a:pt x="769" y="740"/>
                    <a:pt x="788" y="739"/>
                  </a:cubicBezTo>
                  <a:cubicBezTo>
                    <a:pt x="788" y="685"/>
                    <a:pt x="790" y="633"/>
                    <a:pt x="789" y="579"/>
                  </a:cubicBezTo>
                  <a:cubicBezTo>
                    <a:pt x="770" y="579"/>
                    <a:pt x="752" y="579"/>
                    <a:pt x="733" y="579"/>
                  </a:cubicBezTo>
                  <a:cubicBezTo>
                    <a:pt x="730" y="630"/>
                    <a:pt x="731" y="686"/>
                    <a:pt x="729" y="739"/>
                  </a:cubicBezTo>
                  <a:close/>
                  <a:moveTo>
                    <a:pt x="791" y="582"/>
                  </a:moveTo>
                  <a:cubicBezTo>
                    <a:pt x="791" y="634"/>
                    <a:pt x="791" y="687"/>
                    <a:pt x="791" y="739"/>
                  </a:cubicBezTo>
                  <a:cubicBezTo>
                    <a:pt x="842" y="739"/>
                    <a:pt x="890" y="736"/>
                    <a:pt x="938" y="734"/>
                  </a:cubicBezTo>
                  <a:cubicBezTo>
                    <a:pt x="934" y="683"/>
                    <a:pt x="930" y="633"/>
                    <a:pt x="924" y="584"/>
                  </a:cubicBezTo>
                  <a:cubicBezTo>
                    <a:pt x="881" y="581"/>
                    <a:pt x="837" y="580"/>
                    <a:pt x="792" y="579"/>
                  </a:cubicBezTo>
                  <a:cubicBezTo>
                    <a:pt x="791" y="579"/>
                    <a:pt x="791" y="581"/>
                    <a:pt x="791" y="582"/>
                  </a:cubicBezTo>
                  <a:close/>
                  <a:moveTo>
                    <a:pt x="538" y="588"/>
                  </a:moveTo>
                  <a:cubicBezTo>
                    <a:pt x="531" y="634"/>
                    <a:pt x="526" y="681"/>
                    <a:pt x="521" y="729"/>
                  </a:cubicBezTo>
                  <a:cubicBezTo>
                    <a:pt x="552" y="732"/>
                    <a:pt x="584" y="734"/>
                    <a:pt x="616" y="736"/>
                  </a:cubicBezTo>
                  <a:cubicBezTo>
                    <a:pt x="612" y="686"/>
                    <a:pt x="615" y="630"/>
                    <a:pt x="609" y="583"/>
                  </a:cubicBezTo>
                  <a:cubicBezTo>
                    <a:pt x="586" y="585"/>
                    <a:pt x="562" y="587"/>
                    <a:pt x="538" y="588"/>
                  </a:cubicBezTo>
                  <a:close/>
                  <a:moveTo>
                    <a:pt x="929" y="584"/>
                  </a:moveTo>
                  <a:cubicBezTo>
                    <a:pt x="933" y="634"/>
                    <a:pt x="939" y="682"/>
                    <a:pt x="942" y="734"/>
                  </a:cubicBezTo>
                  <a:cubicBezTo>
                    <a:pt x="946" y="733"/>
                    <a:pt x="953" y="733"/>
                    <a:pt x="959" y="733"/>
                  </a:cubicBezTo>
                  <a:cubicBezTo>
                    <a:pt x="962" y="685"/>
                    <a:pt x="963" y="636"/>
                    <a:pt x="965" y="587"/>
                  </a:cubicBezTo>
                  <a:cubicBezTo>
                    <a:pt x="953" y="585"/>
                    <a:pt x="941" y="585"/>
                    <a:pt x="929" y="584"/>
                  </a:cubicBezTo>
                  <a:close/>
                  <a:moveTo>
                    <a:pt x="13" y="752"/>
                  </a:moveTo>
                  <a:cubicBezTo>
                    <a:pt x="25" y="732"/>
                    <a:pt x="46" y="719"/>
                    <a:pt x="63" y="704"/>
                  </a:cubicBezTo>
                  <a:cubicBezTo>
                    <a:pt x="63" y="674"/>
                    <a:pt x="63" y="645"/>
                    <a:pt x="66" y="618"/>
                  </a:cubicBezTo>
                  <a:cubicBezTo>
                    <a:pt x="54" y="609"/>
                    <a:pt x="45" y="597"/>
                    <a:pt x="35" y="585"/>
                  </a:cubicBezTo>
                  <a:cubicBezTo>
                    <a:pt x="23" y="635"/>
                    <a:pt x="7" y="690"/>
                    <a:pt x="13" y="752"/>
                  </a:cubicBezTo>
                  <a:close/>
                  <a:moveTo>
                    <a:pt x="967" y="587"/>
                  </a:moveTo>
                  <a:cubicBezTo>
                    <a:pt x="965" y="635"/>
                    <a:pt x="965" y="686"/>
                    <a:pt x="961" y="732"/>
                  </a:cubicBezTo>
                  <a:cubicBezTo>
                    <a:pt x="1017" y="729"/>
                    <a:pt x="1071" y="723"/>
                    <a:pt x="1123" y="716"/>
                  </a:cubicBezTo>
                  <a:cubicBezTo>
                    <a:pt x="1132" y="675"/>
                    <a:pt x="1121" y="639"/>
                    <a:pt x="1114" y="603"/>
                  </a:cubicBezTo>
                  <a:cubicBezTo>
                    <a:pt x="1067" y="597"/>
                    <a:pt x="1018" y="591"/>
                    <a:pt x="967" y="587"/>
                  </a:cubicBezTo>
                  <a:close/>
                  <a:moveTo>
                    <a:pt x="1476" y="597"/>
                  </a:moveTo>
                  <a:cubicBezTo>
                    <a:pt x="1478" y="594"/>
                    <a:pt x="1476" y="589"/>
                    <a:pt x="1474" y="587"/>
                  </a:cubicBezTo>
                  <a:cubicBezTo>
                    <a:pt x="1475" y="590"/>
                    <a:pt x="1475" y="594"/>
                    <a:pt x="1476" y="597"/>
                  </a:cubicBezTo>
                  <a:close/>
                  <a:moveTo>
                    <a:pt x="445" y="599"/>
                  </a:moveTo>
                  <a:cubicBezTo>
                    <a:pt x="446" y="641"/>
                    <a:pt x="448" y="683"/>
                    <a:pt x="452" y="722"/>
                  </a:cubicBezTo>
                  <a:cubicBezTo>
                    <a:pt x="474" y="725"/>
                    <a:pt x="496" y="727"/>
                    <a:pt x="518" y="729"/>
                  </a:cubicBezTo>
                  <a:cubicBezTo>
                    <a:pt x="523" y="682"/>
                    <a:pt x="528" y="634"/>
                    <a:pt x="535" y="589"/>
                  </a:cubicBezTo>
                  <a:cubicBezTo>
                    <a:pt x="504" y="591"/>
                    <a:pt x="475" y="595"/>
                    <a:pt x="445" y="599"/>
                  </a:cubicBezTo>
                  <a:close/>
                  <a:moveTo>
                    <a:pt x="1398" y="592"/>
                  </a:moveTo>
                  <a:cubicBezTo>
                    <a:pt x="1398" y="610"/>
                    <a:pt x="1399" y="628"/>
                    <a:pt x="1399" y="647"/>
                  </a:cubicBezTo>
                  <a:cubicBezTo>
                    <a:pt x="1404" y="644"/>
                    <a:pt x="1410" y="644"/>
                    <a:pt x="1412" y="640"/>
                  </a:cubicBezTo>
                  <a:cubicBezTo>
                    <a:pt x="1407" y="624"/>
                    <a:pt x="1403" y="607"/>
                    <a:pt x="1398" y="592"/>
                  </a:cubicBezTo>
                  <a:moveTo>
                    <a:pt x="1398" y="592"/>
                  </a:moveTo>
                  <a:cubicBezTo>
                    <a:pt x="1399" y="587"/>
                    <a:pt x="1395" y="591"/>
                    <a:pt x="1398" y="592"/>
                  </a:cubicBezTo>
                  <a:moveTo>
                    <a:pt x="354" y="612"/>
                  </a:moveTo>
                  <a:cubicBezTo>
                    <a:pt x="346" y="641"/>
                    <a:pt x="341" y="673"/>
                    <a:pt x="335" y="705"/>
                  </a:cubicBezTo>
                  <a:cubicBezTo>
                    <a:pt x="372" y="712"/>
                    <a:pt x="409" y="718"/>
                    <a:pt x="449" y="721"/>
                  </a:cubicBezTo>
                  <a:cubicBezTo>
                    <a:pt x="445" y="682"/>
                    <a:pt x="445" y="639"/>
                    <a:pt x="441" y="599"/>
                  </a:cubicBezTo>
                  <a:cubicBezTo>
                    <a:pt x="412" y="603"/>
                    <a:pt x="383" y="607"/>
                    <a:pt x="354" y="612"/>
                  </a:cubicBezTo>
                  <a:close/>
                  <a:moveTo>
                    <a:pt x="1483" y="721"/>
                  </a:moveTo>
                  <a:cubicBezTo>
                    <a:pt x="1487" y="724"/>
                    <a:pt x="1490" y="729"/>
                    <a:pt x="1494" y="733"/>
                  </a:cubicBezTo>
                  <a:cubicBezTo>
                    <a:pt x="1498" y="736"/>
                    <a:pt x="1504" y="743"/>
                    <a:pt x="1505" y="742"/>
                  </a:cubicBezTo>
                  <a:cubicBezTo>
                    <a:pt x="1499" y="690"/>
                    <a:pt x="1492" y="641"/>
                    <a:pt x="1477" y="599"/>
                  </a:cubicBezTo>
                  <a:cubicBezTo>
                    <a:pt x="1480" y="635"/>
                    <a:pt x="1484" y="678"/>
                    <a:pt x="1483" y="721"/>
                  </a:cubicBezTo>
                  <a:close/>
                  <a:moveTo>
                    <a:pt x="1416" y="642"/>
                  </a:moveTo>
                  <a:cubicBezTo>
                    <a:pt x="1419" y="657"/>
                    <a:pt x="1423" y="671"/>
                    <a:pt x="1425" y="686"/>
                  </a:cubicBezTo>
                  <a:cubicBezTo>
                    <a:pt x="1441" y="692"/>
                    <a:pt x="1456" y="703"/>
                    <a:pt x="1468" y="711"/>
                  </a:cubicBezTo>
                  <a:cubicBezTo>
                    <a:pt x="1472" y="714"/>
                    <a:pt x="1478" y="718"/>
                    <a:pt x="1480" y="718"/>
                  </a:cubicBezTo>
                  <a:cubicBezTo>
                    <a:pt x="1480" y="677"/>
                    <a:pt x="1480" y="637"/>
                    <a:pt x="1473" y="603"/>
                  </a:cubicBezTo>
                  <a:cubicBezTo>
                    <a:pt x="1457" y="619"/>
                    <a:pt x="1438" y="632"/>
                    <a:pt x="1416" y="642"/>
                  </a:cubicBezTo>
                  <a:close/>
                  <a:moveTo>
                    <a:pt x="1128" y="658"/>
                  </a:moveTo>
                  <a:cubicBezTo>
                    <a:pt x="1128" y="640"/>
                    <a:pt x="1129" y="623"/>
                    <a:pt x="1130" y="605"/>
                  </a:cubicBezTo>
                  <a:cubicBezTo>
                    <a:pt x="1124" y="606"/>
                    <a:pt x="1122" y="604"/>
                    <a:pt x="1117" y="604"/>
                  </a:cubicBezTo>
                  <a:cubicBezTo>
                    <a:pt x="1120" y="623"/>
                    <a:pt x="1124" y="640"/>
                    <a:pt x="1128" y="658"/>
                  </a:cubicBezTo>
                  <a:close/>
                  <a:moveTo>
                    <a:pt x="1134" y="606"/>
                  </a:moveTo>
                  <a:cubicBezTo>
                    <a:pt x="1132" y="607"/>
                    <a:pt x="1132" y="607"/>
                    <a:pt x="1132" y="609"/>
                  </a:cubicBezTo>
                  <a:cubicBezTo>
                    <a:pt x="1131" y="648"/>
                    <a:pt x="1128" y="682"/>
                    <a:pt x="1136" y="714"/>
                  </a:cubicBezTo>
                  <a:cubicBezTo>
                    <a:pt x="1184" y="707"/>
                    <a:pt x="1230" y="698"/>
                    <a:pt x="1274" y="688"/>
                  </a:cubicBezTo>
                  <a:cubicBezTo>
                    <a:pt x="1276" y="671"/>
                    <a:pt x="1276" y="653"/>
                    <a:pt x="1277" y="635"/>
                  </a:cubicBezTo>
                  <a:cubicBezTo>
                    <a:pt x="1230" y="624"/>
                    <a:pt x="1183" y="614"/>
                    <a:pt x="1134" y="606"/>
                  </a:cubicBezTo>
                  <a:close/>
                  <a:moveTo>
                    <a:pt x="349" y="613"/>
                  </a:moveTo>
                  <a:cubicBezTo>
                    <a:pt x="330" y="617"/>
                    <a:pt x="311" y="621"/>
                    <a:pt x="292" y="624"/>
                  </a:cubicBezTo>
                  <a:cubicBezTo>
                    <a:pt x="292" y="650"/>
                    <a:pt x="293" y="674"/>
                    <a:pt x="295" y="697"/>
                  </a:cubicBezTo>
                  <a:cubicBezTo>
                    <a:pt x="307" y="700"/>
                    <a:pt x="319" y="703"/>
                    <a:pt x="332" y="704"/>
                  </a:cubicBezTo>
                  <a:cubicBezTo>
                    <a:pt x="337" y="674"/>
                    <a:pt x="345" y="641"/>
                    <a:pt x="349" y="613"/>
                  </a:cubicBezTo>
                  <a:close/>
                  <a:moveTo>
                    <a:pt x="1279" y="634"/>
                  </a:moveTo>
                  <a:cubicBezTo>
                    <a:pt x="1282" y="634"/>
                    <a:pt x="1283" y="634"/>
                    <a:pt x="1284" y="635"/>
                  </a:cubicBezTo>
                  <a:cubicBezTo>
                    <a:pt x="1283" y="628"/>
                    <a:pt x="1282" y="622"/>
                    <a:pt x="1279" y="617"/>
                  </a:cubicBezTo>
                  <a:cubicBezTo>
                    <a:pt x="1279" y="623"/>
                    <a:pt x="1279" y="628"/>
                    <a:pt x="1279" y="634"/>
                  </a:cubicBezTo>
                  <a:close/>
                  <a:moveTo>
                    <a:pt x="67" y="699"/>
                  </a:moveTo>
                  <a:cubicBezTo>
                    <a:pt x="70" y="674"/>
                    <a:pt x="76" y="651"/>
                    <a:pt x="82" y="628"/>
                  </a:cubicBezTo>
                  <a:cubicBezTo>
                    <a:pt x="77" y="626"/>
                    <a:pt x="74" y="621"/>
                    <a:pt x="68" y="620"/>
                  </a:cubicBezTo>
                  <a:cubicBezTo>
                    <a:pt x="67" y="645"/>
                    <a:pt x="64" y="674"/>
                    <a:pt x="67" y="699"/>
                  </a:cubicBezTo>
                  <a:close/>
                  <a:moveTo>
                    <a:pt x="288" y="625"/>
                  </a:moveTo>
                  <a:cubicBezTo>
                    <a:pt x="255" y="634"/>
                    <a:pt x="221" y="642"/>
                    <a:pt x="190" y="652"/>
                  </a:cubicBezTo>
                  <a:cubicBezTo>
                    <a:pt x="189" y="659"/>
                    <a:pt x="188" y="664"/>
                    <a:pt x="186" y="670"/>
                  </a:cubicBezTo>
                  <a:cubicBezTo>
                    <a:pt x="220" y="680"/>
                    <a:pt x="255" y="690"/>
                    <a:pt x="293" y="696"/>
                  </a:cubicBezTo>
                  <a:cubicBezTo>
                    <a:pt x="290" y="673"/>
                    <a:pt x="291" y="648"/>
                    <a:pt x="288" y="625"/>
                  </a:cubicBezTo>
                  <a:close/>
                  <a:moveTo>
                    <a:pt x="69" y="701"/>
                  </a:moveTo>
                  <a:cubicBezTo>
                    <a:pt x="95" y="687"/>
                    <a:pt x="122" y="673"/>
                    <a:pt x="152" y="663"/>
                  </a:cubicBezTo>
                  <a:cubicBezTo>
                    <a:pt x="130" y="651"/>
                    <a:pt x="104" y="643"/>
                    <a:pt x="84" y="629"/>
                  </a:cubicBezTo>
                  <a:cubicBezTo>
                    <a:pt x="79" y="653"/>
                    <a:pt x="73" y="676"/>
                    <a:pt x="69" y="701"/>
                  </a:cubicBezTo>
                  <a:close/>
                  <a:moveTo>
                    <a:pt x="1277" y="687"/>
                  </a:moveTo>
                  <a:cubicBezTo>
                    <a:pt x="1283" y="685"/>
                    <a:pt x="1289" y="684"/>
                    <a:pt x="1296" y="682"/>
                  </a:cubicBezTo>
                  <a:cubicBezTo>
                    <a:pt x="1292" y="667"/>
                    <a:pt x="1290" y="652"/>
                    <a:pt x="1285" y="638"/>
                  </a:cubicBezTo>
                  <a:cubicBezTo>
                    <a:pt x="1284" y="637"/>
                    <a:pt x="1281" y="637"/>
                    <a:pt x="1279" y="636"/>
                  </a:cubicBezTo>
                  <a:cubicBezTo>
                    <a:pt x="1278" y="652"/>
                    <a:pt x="1278" y="670"/>
                    <a:pt x="1277" y="687"/>
                  </a:cubicBezTo>
                  <a:close/>
                  <a:moveTo>
                    <a:pt x="1298" y="681"/>
                  </a:moveTo>
                  <a:cubicBezTo>
                    <a:pt x="1320" y="675"/>
                    <a:pt x="1342" y="670"/>
                    <a:pt x="1362" y="661"/>
                  </a:cubicBezTo>
                  <a:cubicBezTo>
                    <a:pt x="1338" y="654"/>
                    <a:pt x="1315" y="645"/>
                    <a:pt x="1289" y="639"/>
                  </a:cubicBezTo>
                  <a:cubicBezTo>
                    <a:pt x="1291" y="653"/>
                    <a:pt x="1296" y="666"/>
                    <a:pt x="1298" y="681"/>
                  </a:cubicBezTo>
                  <a:close/>
                  <a:moveTo>
                    <a:pt x="1399" y="649"/>
                  </a:moveTo>
                  <a:cubicBezTo>
                    <a:pt x="1399" y="657"/>
                    <a:pt x="1399" y="665"/>
                    <a:pt x="1399" y="673"/>
                  </a:cubicBezTo>
                  <a:cubicBezTo>
                    <a:pt x="1407" y="677"/>
                    <a:pt x="1415" y="680"/>
                    <a:pt x="1422" y="684"/>
                  </a:cubicBezTo>
                  <a:cubicBezTo>
                    <a:pt x="1419" y="671"/>
                    <a:pt x="1418" y="655"/>
                    <a:pt x="1412" y="644"/>
                  </a:cubicBezTo>
                  <a:cubicBezTo>
                    <a:pt x="1409" y="646"/>
                    <a:pt x="1404" y="648"/>
                    <a:pt x="1399" y="649"/>
                  </a:cubicBezTo>
                  <a:close/>
                  <a:moveTo>
                    <a:pt x="1371" y="662"/>
                  </a:moveTo>
                  <a:cubicBezTo>
                    <a:pt x="1379" y="665"/>
                    <a:pt x="1388" y="668"/>
                    <a:pt x="1397" y="672"/>
                  </a:cubicBezTo>
                  <a:cubicBezTo>
                    <a:pt x="1396" y="666"/>
                    <a:pt x="1398" y="656"/>
                    <a:pt x="1396" y="651"/>
                  </a:cubicBezTo>
                  <a:cubicBezTo>
                    <a:pt x="1388" y="655"/>
                    <a:pt x="1379" y="658"/>
                    <a:pt x="1371" y="662"/>
                  </a:cubicBezTo>
                  <a:close/>
                  <a:moveTo>
                    <a:pt x="162" y="662"/>
                  </a:moveTo>
                  <a:cubicBezTo>
                    <a:pt x="169" y="664"/>
                    <a:pt x="175" y="668"/>
                    <a:pt x="184" y="669"/>
                  </a:cubicBezTo>
                  <a:cubicBezTo>
                    <a:pt x="184" y="663"/>
                    <a:pt x="187" y="659"/>
                    <a:pt x="187" y="653"/>
                  </a:cubicBezTo>
                  <a:cubicBezTo>
                    <a:pt x="178" y="656"/>
                    <a:pt x="170" y="658"/>
                    <a:pt x="162" y="662"/>
                  </a:cubicBezTo>
                  <a:close/>
                  <a:moveTo>
                    <a:pt x="109" y="683"/>
                  </a:moveTo>
                  <a:cubicBezTo>
                    <a:pt x="98" y="688"/>
                    <a:pt x="72" y="698"/>
                    <a:pt x="68" y="707"/>
                  </a:cubicBezTo>
                  <a:cubicBezTo>
                    <a:pt x="63" y="717"/>
                    <a:pt x="68" y="742"/>
                    <a:pt x="70" y="755"/>
                  </a:cubicBezTo>
                  <a:cubicBezTo>
                    <a:pt x="76" y="807"/>
                    <a:pt x="83" y="853"/>
                    <a:pt x="96" y="893"/>
                  </a:cubicBezTo>
                  <a:cubicBezTo>
                    <a:pt x="107" y="898"/>
                    <a:pt x="117" y="903"/>
                    <a:pt x="127" y="908"/>
                  </a:cubicBezTo>
                  <a:cubicBezTo>
                    <a:pt x="138" y="901"/>
                    <a:pt x="150" y="898"/>
                    <a:pt x="158" y="889"/>
                  </a:cubicBezTo>
                  <a:cubicBezTo>
                    <a:pt x="157" y="859"/>
                    <a:pt x="160" y="834"/>
                    <a:pt x="162" y="808"/>
                  </a:cubicBezTo>
                  <a:cubicBezTo>
                    <a:pt x="163" y="790"/>
                    <a:pt x="168" y="772"/>
                    <a:pt x="168" y="756"/>
                  </a:cubicBezTo>
                  <a:cubicBezTo>
                    <a:pt x="168" y="741"/>
                    <a:pt x="163" y="727"/>
                    <a:pt x="162" y="712"/>
                  </a:cubicBezTo>
                  <a:cubicBezTo>
                    <a:pt x="161" y="696"/>
                    <a:pt x="161" y="681"/>
                    <a:pt x="159" y="665"/>
                  </a:cubicBezTo>
                  <a:cubicBezTo>
                    <a:pt x="159" y="664"/>
                    <a:pt x="159" y="664"/>
                    <a:pt x="158" y="664"/>
                  </a:cubicBezTo>
                  <a:cubicBezTo>
                    <a:pt x="145" y="667"/>
                    <a:pt x="128" y="674"/>
                    <a:pt x="109" y="683"/>
                  </a:cubicBezTo>
                  <a:close/>
                  <a:moveTo>
                    <a:pt x="1367" y="664"/>
                  </a:moveTo>
                  <a:cubicBezTo>
                    <a:pt x="1347" y="670"/>
                    <a:pt x="1321" y="678"/>
                    <a:pt x="1299" y="685"/>
                  </a:cubicBezTo>
                  <a:cubicBezTo>
                    <a:pt x="1311" y="742"/>
                    <a:pt x="1319" y="805"/>
                    <a:pt x="1322" y="872"/>
                  </a:cubicBezTo>
                  <a:cubicBezTo>
                    <a:pt x="1336" y="877"/>
                    <a:pt x="1347" y="884"/>
                    <a:pt x="1362" y="888"/>
                  </a:cubicBezTo>
                  <a:cubicBezTo>
                    <a:pt x="1380" y="824"/>
                    <a:pt x="1394" y="754"/>
                    <a:pt x="1397" y="674"/>
                  </a:cubicBezTo>
                  <a:cubicBezTo>
                    <a:pt x="1386" y="672"/>
                    <a:pt x="1378" y="666"/>
                    <a:pt x="1367" y="664"/>
                  </a:cubicBezTo>
                  <a:close/>
                  <a:moveTo>
                    <a:pt x="170" y="745"/>
                  </a:moveTo>
                  <a:cubicBezTo>
                    <a:pt x="172" y="719"/>
                    <a:pt x="178" y="695"/>
                    <a:pt x="183" y="671"/>
                  </a:cubicBezTo>
                  <a:cubicBezTo>
                    <a:pt x="175" y="670"/>
                    <a:pt x="169" y="667"/>
                    <a:pt x="162" y="665"/>
                  </a:cubicBezTo>
                  <a:cubicBezTo>
                    <a:pt x="164" y="692"/>
                    <a:pt x="164" y="722"/>
                    <a:pt x="170" y="745"/>
                  </a:cubicBezTo>
                  <a:close/>
                  <a:moveTo>
                    <a:pt x="185" y="672"/>
                  </a:moveTo>
                  <a:cubicBezTo>
                    <a:pt x="185" y="673"/>
                    <a:pt x="185" y="674"/>
                    <a:pt x="185" y="675"/>
                  </a:cubicBezTo>
                  <a:cubicBezTo>
                    <a:pt x="182" y="704"/>
                    <a:pt x="169" y="731"/>
                    <a:pt x="171" y="761"/>
                  </a:cubicBezTo>
                  <a:cubicBezTo>
                    <a:pt x="172" y="801"/>
                    <a:pt x="188" y="839"/>
                    <a:pt x="195" y="875"/>
                  </a:cubicBezTo>
                  <a:cubicBezTo>
                    <a:pt x="232" y="860"/>
                    <a:pt x="272" y="848"/>
                    <a:pt x="314" y="837"/>
                  </a:cubicBezTo>
                  <a:cubicBezTo>
                    <a:pt x="306" y="792"/>
                    <a:pt x="297" y="749"/>
                    <a:pt x="294" y="700"/>
                  </a:cubicBezTo>
                  <a:cubicBezTo>
                    <a:pt x="256" y="692"/>
                    <a:pt x="219" y="683"/>
                    <a:pt x="185" y="672"/>
                  </a:cubicBezTo>
                  <a:close/>
                  <a:moveTo>
                    <a:pt x="1364" y="890"/>
                  </a:moveTo>
                  <a:cubicBezTo>
                    <a:pt x="1375" y="896"/>
                    <a:pt x="1385" y="902"/>
                    <a:pt x="1397" y="908"/>
                  </a:cubicBezTo>
                  <a:cubicBezTo>
                    <a:pt x="1411" y="900"/>
                    <a:pt x="1428" y="894"/>
                    <a:pt x="1441" y="885"/>
                  </a:cubicBezTo>
                  <a:cubicBezTo>
                    <a:pt x="1442" y="811"/>
                    <a:pt x="1435" y="747"/>
                    <a:pt x="1423" y="687"/>
                  </a:cubicBezTo>
                  <a:cubicBezTo>
                    <a:pt x="1415" y="684"/>
                    <a:pt x="1408" y="679"/>
                    <a:pt x="1398" y="676"/>
                  </a:cubicBezTo>
                  <a:cubicBezTo>
                    <a:pt x="1397" y="757"/>
                    <a:pt x="1382" y="826"/>
                    <a:pt x="1364" y="890"/>
                  </a:cubicBezTo>
                  <a:close/>
                  <a:moveTo>
                    <a:pt x="1127" y="716"/>
                  </a:moveTo>
                  <a:cubicBezTo>
                    <a:pt x="1127" y="713"/>
                    <a:pt x="1132" y="715"/>
                    <a:pt x="1134" y="715"/>
                  </a:cubicBezTo>
                  <a:cubicBezTo>
                    <a:pt x="1132" y="705"/>
                    <a:pt x="1131" y="694"/>
                    <a:pt x="1129" y="685"/>
                  </a:cubicBezTo>
                  <a:cubicBezTo>
                    <a:pt x="1128" y="694"/>
                    <a:pt x="1125" y="707"/>
                    <a:pt x="1127" y="716"/>
                  </a:cubicBezTo>
                  <a:close/>
                  <a:moveTo>
                    <a:pt x="1277" y="690"/>
                  </a:moveTo>
                  <a:cubicBezTo>
                    <a:pt x="1272" y="746"/>
                    <a:pt x="1263" y="798"/>
                    <a:pt x="1252" y="848"/>
                  </a:cubicBezTo>
                  <a:cubicBezTo>
                    <a:pt x="1275" y="855"/>
                    <a:pt x="1298" y="862"/>
                    <a:pt x="1319" y="871"/>
                  </a:cubicBezTo>
                  <a:cubicBezTo>
                    <a:pt x="1316" y="804"/>
                    <a:pt x="1310" y="740"/>
                    <a:pt x="1295" y="685"/>
                  </a:cubicBezTo>
                  <a:cubicBezTo>
                    <a:pt x="1289" y="687"/>
                    <a:pt x="1283" y="688"/>
                    <a:pt x="1277" y="690"/>
                  </a:cubicBezTo>
                  <a:close/>
                  <a:moveTo>
                    <a:pt x="1443" y="884"/>
                  </a:moveTo>
                  <a:cubicBezTo>
                    <a:pt x="1447" y="884"/>
                    <a:pt x="1454" y="877"/>
                    <a:pt x="1459" y="875"/>
                  </a:cubicBezTo>
                  <a:cubicBezTo>
                    <a:pt x="1470" y="828"/>
                    <a:pt x="1478" y="779"/>
                    <a:pt x="1480" y="723"/>
                  </a:cubicBezTo>
                  <a:cubicBezTo>
                    <a:pt x="1465" y="709"/>
                    <a:pt x="1446" y="699"/>
                    <a:pt x="1426" y="689"/>
                  </a:cubicBezTo>
                  <a:cubicBezTo>
                    <a:pt x="1437" y="748"/>
                    <a:pt x="1446" y="814"/>
                    <a:pt x="1443" y="884"/>
                  </a:cubicBezTo>
                  <a:close/>
                  <a:moveTo>
                    <a:pt x="1136" y="718"/>
                  </a:moveTo>
                  <a:cubicBezTo>
                    <a:pt x="1142" y="751"/>
                    <a:pt x="1146" y="785"/>
                    <a:pt x="1148" y="822"/>
                  </a:cubicBezTo>
                  <a:cubicBezTo>
                    <a:pt x="1182" y="830"/>
                    <a:pt x="1216" y="838"/>
                    <a:pt x="1249" y="847"/>
                  </a:cubicBezTo>
                  <a:cubicBezTo>
                    <a:pt x="1260" y="798"/>
                    <a:pt x="1269" y="747"/>
                    <a:pt x="1274" y="691"/>
                  </a:cubicBezTo>
                  <a:cubicBezTo>
                    <a:pt x="1273" y="691"/>
                    <a:pt x="1272" y="691"/>
                    <a:pt x="1272" y="691"/>
                  </a:cubicBezTo>
                  <a:cubicBezTo>
                    <a:pt x="1229" y="702"/>
                    <a:pt x="1181" y="708"/>
                    <a:pt x="1136" y="718"/>
                  </a:cubicBezTo>
                  <a:close/>
                  <a:moveTo>
                    <a:pt x="317" y="834"/>
                  </a:moveTo>
                  <a:cubicBezTo>
                    <a:pt x="320" y="790"/>
                    <a:pt x="325" y="747"/>
                    <a:pt x="332" y="707"/>
                  </a:cubicBezTo>
                  <a:cubicBezTo>
                    <a:pt x="319" y="706"/>
                    <a:pt x="307" y="703"/>
                    <a:pt x="295" y="700"/>
                  </a:cubicBezTo>
                  <a:cubicBezTo>
                    <a:pt x="301" y="747"/>
                    <a:pt x="306" y="792"/>
                    <a:pt x="317" y="834"/>
                  </a:cubicBezTo>
                  <a:close/>
                  <a:moveTo>
                    <a:pt x="334" y="708"/>
                  </a:moveTo>
                  <a:cubicBezTo>
                    <a:pt x="329" y="749"/>
                    <a:pt x="320" y="792"/>
                    <a:pt x="320" y="836"/>
                  </a:cubicBezTo>
                  <a:cubicBezTo>
                    <a:pt x="364" y="824"/>
                    <a:pt x="411" y="815"/>
                    <a:pt x="460" y="809"/>
                  </a:cubicBezTo>
                  <a:cubicBezTo>
                    <a:pt x="456" y="781"/>
                    <a:pt x="452" y="754"/>
                    <a:pt x="450" y="724"/>
                  </a:cubicBezTo>
                  <a:cubicBezTo>
                    <a:pt x="410" y="721"/>
                    <a:pt x="372" y="714"/>
                    <a:pt x="334" y="708"/>
                  </a:cubicBezTo>
                  <a:close/>
                  <a:moveTo>
                    <a:pt x="12" y="759"/>
                  </a:moveTo>
                  <a:cubicBezTo>
                    <a:pt x="10" y="769"/>
                    <a:pt x="13" y="784"/>
                    <a:pt x="14" y="796"/>
                  </a:cubicBezTo>
                  <a:cubicBezTo>
                    <a:pt x="15" y="809"/>
                    <a:pt x="15" y="823"/>
                    <a:pt x="18" y="833"/>
                  </a:cubicBezTo>
                  <a:cubicBezTo>
                    <a:pt x="21" y="843"/>
                    <a:pt x="38" y="854"/>
                    <a:pt x="45" y="860"/>
                  </a:cubicBezTo>
                  <a:cubicBezTo>
                    <a:pt x="48" y="862"/>
                    <a:pt x="50" y="867"/>
                    <a:pt x="54" y="865"/>
                  </a:cubicBezTo>
                  <a:cubicBezTo>
                    <a:pt x="52" y="809"/>
                    <a:pt x="59" y="757"/>
                    <a:pt x="63" y="710"/>
                  </a:cubicBezTo>
                  <a:cubicBezTo>
                    <a:pt x="63" y="709"/>
                    <a:pt x="63" y="709"/>
                    <a:pt x="62" y="709"/>
                  </a:cubicBezTo>
                  <a:cubicBezTo>
                    <a:pt x="50" y="719"/>
                    <a:pt x="16" y="741"/>
                    <a:pt x="12" y="759"/>
                  </a:cubicBezTo>
                  <a:close/>
                  <a:moveTo>
                    <a:pt x="1134" y="718"/>
                  </a:moveTo>
                  <a:cubicBezTo>
                    <a:pt x="1133" y="716"/>
                    <a:pt x="1129" y="719"/>
                    <a:pt x="1126" y="718"/>
                  </a:cubicBezTo>
                  <a:cubicBezTo>
                    <a:pt x="1122" y="751"/>
                    <a:pt x="1118" y="785"/>
                    <a:pt x="1112" y="816"/>
                  </a:cubicBezTo>
                  <a:cubicBezTo>
                    <a:pt x="1124" y="818"/>
                    <a:pt x="1134" y="821"/>
                    <a:pt x="1146" y="822"/>
                  </a:cubicBezTo>
                  <a:cubicBezTo>
                    <a:pt x="1143" y="787"/>
                    <a:pt x="1139" y="752"/>
                    <a:pt x="1134" y="718"/>
                  </a:cubicBezTo>
                  <a:close/>
                  <a:moveTo>
                    <a:pt x="961" y="735"/>
                  </a:moveTo>
                  <a:cubicBezTo>
                    <a:pt x="960" y="755"/>
                    <a:pt x="958" y="775"/>
                    <a:pt x="956" y="795"/>
                  </a:cubicBezTo>
                  <a:cubicBezTo>
                    <a:pt x="1009" y="801"/>
                    <a:pt x="1060" y="807"/>
                    <a:pt x="1110" y="815"/>
                  </a:cubicBezTo>
                  <a:cubicBezTo>
                    <a:pt x="1113" y="784"/>
                    <a:pt x="1123" y="748"/>
                    <a:pt x="1121" y="719"/>
                  </a:cubicBezTo>
                  <a:cubicBezTo>
                    <a:pt x="1070" y="726"/>
                    <a:pt x="1016" y="732"/>
                    <a:pt x="961" y="735"/>
                  </a:cubicBezTo>
                  <a:close/>
                  <a:moveTo>
                    <a:pt x="1462" y="872"/>
                  </a:moveTo>
                  <a:cubicBezTo>
                    <a:pt x="1480" y="862"/>
                    <a:pt x="1495" y="848"/>
                    <a:pt x="1507" y="832"/>
                  </a:cubicBezTo>
                  <a:cubicBezTo>
                    <a:pt x="1507" y="814"/>
                    <a:pt x="1508" y="802"/>
                    <a:pt x="1507" y="786"/>
                  </a:cubicBezTo>
                  <a:cubicBezTo>
                    <a:pt x="1506" y="773"/>
                    <a:pt x="1508" y="759"/>
                    <a:pt x="1506" y="750"/>
                  </a:cubicBezTo>
                  <a:cubicBezTo>
                    <a:pt x="1503" y="738"/>
                    <a:pt x="1488" y="733"/>
                    <a:pt x="1482" y="724"/>
                  </a:cubicBezTo>
                  <a:cubicBezTo>
                    <a:pt x="1481" y="779"/>
                    <a:pt x="1472" y="827"/>
                    <a:pt x="1462" y="872"/>
                  </a:cubicBezTo>
                  <a:close/>
                  <a:moveTo>
                    <a:pt x="462" y="808"/>
                  </a:moveTo>
                  <a:cubicBezTo>
                    <a:pt x="479" y="806"/>
                    <a:pt x="496" y="804"/>
                    <a:pt x="512" y="801"/>
                  </a:cubicBezTo>
                  <a:cubicBezTo>
                    <a:pt x="515" y="778"/>
                    <a:pt x="516" y="755"/>
                    <a:pt x="518" y="732"/>
                  </a:cubicBezTo>
                  <a:cubicBezTo>
                    <a:pt x="496" y="729"/>
                    <a:pt x="474" y="727"/>
                    <a:pt x="452" y="725"/>
                  </a:cubicBezTo>
                  <a:cubicBezTo>
                    <a:pt x="455" y="753"/>
                    <a:pt x="458" y="780"/>
                    <a:pt x="462" y="808"/>
                  </a:cubicBezTo>
                  <a:close/>
                  <a:moveTo>
                    <a:pt x="56" y="868"/>
                  </a:moveTo>
                  <a:cubicBezTo>
                    <a:pt x="66" y="877"/>
                    <a:pt x="79" y="884"/>
                    <a:pt x="92" y="890"/>
                  </a:cubicBezTo>
                  <a:cubicBezTo>
                    <a:pt x="79" y="840"/>
                    <a:pt x="69" y="787"/>
                    <a:pt x="64" y="728"/>
                  </a:cubicBezTo>
                  <a:cubicBezTo>
                    <a:pt x="58" y="772"/>
                    <a:pt x="55" y="818"/>
                    <a:pt x="56" y="868"/>
                  </a:cubicBezTo>
                  <a:close/>
                  <a:moveTo>
                    <a:pt x="522" y="732"/>
                  </a:moveTo>
                  <a:cubicBezTo>
                    <a:pt x="518" y="753"/>
                    <a:pt x="518" y="778"/>
                    <a:pt x="515" y="801"/>
                  </a:cubicBezTo>
                  <a:cubicBezTo>
                    <a:pt x="549" y="797"/>
                    <a:pt x="584" y="794"/>
                    <a:pt x="619" y="791"/>
                  </a:cubicBezTo>
                  <a:cubicBezTo>
                    <a:pt x="619" y="773"/>
                    <a:pt x="617" y="756"/>
                    <a:pt x="616" y="739"/>
                  </a:cubicBezTo>
                  <a:cubicBezTo>
                    <a:pt x="585" y="736"/>
                    <a:pt x="553" y="735"/>
                    <a:pt x="522" y="732"/>
                  </a:cubicBezTo>
                  <a:close/>
                  <a:moveTo>
                    <a:pt x="8" y="761"/>
                  </a:moveTo>
                  <a:cubicBezTo>
                    <a:pt x="10" y="754"/>
                    <a:pt x="10" y="740"/>
                    <a:pt x="8" y="733"/>
                  </a:cubicBezTo>
                  <a:cubicBezTo>
                    <a:pt x="10" y="743"/>
                    <a:pt x="6" y="753"/>
                    <a:pt x="8" y="761"/>
                  </a:cubicBezTo>
                  <a:close/>
                  <a:moveTo>
                    <a:pt x="942" y="737"/>
                  </a:moveTo>
                  <a:cubicBezTo>
                    <a:pt x="943" y="757"/>
                    <a:pt x="945" y="775"/>
                    <a:pt x="945" y="795"/>
                  </a:cubicBezTo>
                  <a:cubicBezTo>
                    <a:pt x="948" y="795"/>
                    <a:pt x="950" y="795"/>
                    <a:pt x="953" y="795"/>
                  </a:cubicBezTo>
                  <a:cubicBezTo>
                    <a:pt x="956" y="776"/>
                    <a:pt x="957" y="756"/>
                    <a:pt x="958" y="736"/>
                  </a:cubicBezTo>
                  <a:cubicBezTo>
                    <a:pt x="953" y="736"/>
                    <a:pt x="946" y="735"/>
                    <a:pt x="942" y="737"/>
                  </a:cubicBezTo>
                  <a:close/>
                  <a:moveTo>
                    <a:pt x="790" y="742"/>
                  </a:moveTo>
                  <a:cubicBezTo>
                    <a:pt x="790" y="757"/>
                    <a:pt x="790" y="772"/>
                    <a:pt x="790" y="788"/>
                  </a:cubicBezTo>
                  <a:cubicBezTo>
                    <a:pt x="843" y="788"/>
                    <a:pt x="892" y="791"/>
                    <a:pt x="942" y="794"/>
                  </a:cubicBezTo>
                  <a:cubicBezTo>
                    <a:pt x="940" y="776"/>
                    <a:pt x="940" y="755"/>
                    <a:pt x="938" y="737"/>
                  </a:cubicBezTo>
                  <a:cubicBezTo>
                    <a:pt x="889" y="739"/>
                    <a:pt x="841" y="742"/>
                    <a:pt x="790" y="742"/>
                  </a:cubicBezTo>
                  <a:close/>
                  <a:moveTo>
                    <a:pt x="621" y="739"/>
                  </a:moveTo>
                  <a:cubicBezTo>
                    <a:pt x="619" y="755"/>
                    <a:pt x="623" y="774"/>
                    <a:pt x="623" y="791"/>
                  </a:cubicBezTo>
                  <a:cubicBezTo>
                    <a:pt x="657" y="790"/>
                    <a:pt x="691" y="788"/>
                    <a:pt x="726" y="788"/>
                  </a:cubicBezTo>
                  <a:cubicBezTo>
                    <a:pt x="726" y="772"/>
                    <a:pt x="726" y="757"/>
                    <a:pt x="726" y="742"/>
                  </a:cubicBezTo>
                  <a:cubicBezTo>
                    <a:pt x="690" y="742"/>
                    <a:pt x="656" y="740"/>
                    <a:pt x="621" y="739"/>
                  </a:cubicBezTo>
                  <a:close/>
                  <a:moveTo>
                    <a:pt x="729" y="742"/>
                  </a:moveTo>
                  <a:cubicBezTo>
                    <a:pt x="729" y="757"/>
                    <a:pt x="729" y="772"/>
                    <a:pt x="729" y="788"/>
                  </a:cubicBezTo>
                  <a:cubicBezTo>
                    <a:pt x="749" y="788"/>
                    <a:pt x="768" y="788"/>
                    <a:pt x="787" y="788"/>
                  </a:cubicBezTo>
                  <a:cubicBezTo>
                    <a:pt x="788" y="773"/>
                    <a:pt x="788" y="757"/>
                    <a:pt x="788" y="742"/>
                  </a:cubicBezTo>
                  <a:cubicBezTo>
                    <a:pt x="768" y="742"/>
                    <a:pt x="749" y="742"/>
                    <a:pt x="729" y="742"/>
                  </a:cubicBezTo>
                  <a:close/>
                  <a:moveTo>
                    <a:pt x="1508" y="753"/>
                  </a:moveTo>
                  <a:cubicBezTo>
                    <a:pt x="1508" y="753"/>
                    <a:pt x="1509" y="754"/>
                    <a:pt x="1508" y="753"/>
                  </a:cubicBezTo>
                  <a:close/>
                  <a:moveTo>
                    <a:pt x="1511" y="827"/>
                  </a:moveTo>
                  <a:cubicBezTo>
                    <a:pt x="1520" y="808"/>
                    <a:pt x="1524" y="768"/>
                    <a:pt x="1509" y="754"/>
                  </a:cubicBezTo>
                  <a:cubicBezTo>
                    <a:pt x="1510" y="778"/>
                    <a:pt x="1509" y="804"/>
                    <a:pt x="1511" y="827"/>
                  </a:cubicBezTo>
                  <a:close/>
                  <a:moveTo>
                    <a:pt x="15" y="828"/>
                  </a:moveTo>
                  <a:cubicBezTo>
                    <a:pt x="12" y="808"/>
                    <a:pt x="12" y="784"/>
                    <a:pt x="8" y="765"/>
                  </a:cubicBezTo>
                  <a:cubicBezTo>
                    <a:pt x="6" y="784"/>
                    <a:pt x="4" y="816"/>
                    <a:pt x="15" y="828"/>
                  </a:cubicBezTo>
                  <a:close/>
                  <a:moveTo>
                    <a:pt x="162" y="890"/>
                  </a:moveTo>
                  <a:cubicBezTo>
                    <a:pt x="171" y="884"/>
                    <a:pt x="184" y="881"/>
                    <a:pt x="193" y="875"/>
                  </a:cubicBezTo>
                  <a:cubicBezTo>
                    <a:pt x="182" y="842"/>
                    <a:pt x="176" y="805"/>
                    <a:pt x="169" y="768"/>
                  </a:cubicBezTo>
                  <a:cubicBezTo>
                    <a:pt x="165" y="806"/>
                    <a:pt x="159" y="852"/>
                    <a:pt x="162" y="890"/>
                  </a:cubicBezTo>
                  <a:close/>
                  <a:moveTo>
                    <a:pt x="5" y="797"/>
                  </a:moveTo>
                  <a:cubicBezTo>
                    <a:pt x="5" y="793"/>
                    <a:pt x="5" y="784"/>
                    <a:pt x="4" y="780"/>
                  </a:cubicBezTo>
                  <a:cubicBezTo>
                    <a:pt x="2" y="787"/>
                    <a:pt x="4" y="811"/>
                    <a:pt x="5" y="797"/>
                  </a:cubicBezTo>
                  <a:close/>
                  <a:moveTo>
                    <a:pt x="624" y="794"/>
                  </a:moveTo>
                  <a:cubicBezTo>
                    <a:pt x="627" y="863"/>
                    <a:pt x="635" y="934"/>
                    <a:pt x="643" y="1001"/>
                  </a:cubicBezTo>
                  <a:cubicBezTo>
                    <a:pt x="670" y="999"/>
                    <a:pt x="698" y="998"/>
                    <a:pt x="726" y="997"/>
                  </a:cubicBezTo>
                  <a:cubicBezTo>
                    <a:pt x="726" y="928"/>
                    <a:pt x="725" y="858"/>
                    <a:pt x="726" y="791"/>
                  </a:cubicBezTo>
                  <a:cubicBezTo>
                    <a:pt x="694" y="790"/>
                    <a:pt x="656" y="792"/>
                    <a:pt x="624" y="794"/>
                  </a:cubicBezTo>
                  <a:close/>
                  <a:moveTo>
                    <a:pt x="729" y="792"/>
                  </a:moveTo>
                  <a:cubicBezTo>
                    <a:pt x="727" y="859"/>
                    <a:pt x="729" y="929"/>
                    <a:pt x="728" y="997"/>
                  </a:cubicBezTo>
                  <a:cubicBezTo>
                    <a:pt x="747" y="997"/>
                    <a:pt x="765" y="997"/>
                    <a:pt x="783" y="997"/>
                  </a:cubicBezTo>
                  <a:cubicBezTo>
                    <a:pt x="785" y="929"/>
                    <a:pt x="787" y="860"/>
                    <a:pt x="787" y="790"/>
                  </a:cubicBezTo>
                  <a:cubicBezTo>
                    <a:pt x="768" y="790"/>
                    <a:pt x="749" y="790"/>
                    <a:pt x="730" y="790"/>
                  </a:cubicBezTo>
                  <a:cubicBezTo>
                    <a:pt x="729" y="790"/>
                    <a:pt x="729" y="791"/>
                    <a:pt x="729" y="792"/>
                  </a:cubicBezTo>
                  <a:close/>
                  <a:moveTo>
                    <a:pt x="790" y="792"/>
                  </a:moveTo>
                  <a:cubicBezTo>
                    <a:pt x="789" y="861"/>
                    <a:pt x="788" y="929"/>
                    <a:pt x="786" y="997"/>
                  </a:cubicBezTo>
                  <a:cubicBezTo>
                    <a:pt x="834" y="997"/>
                    <a:pt x="881" y="1003"/>
                    <a:pt x="927" y="998"/>
                  </a:cubicBezTo>
                  <a:cubicBezTo>
                    <a:pt x="937" y="935"/>
                    <a:pt x="950" y="870"/>
                    <a:pt x="942" y="797"/>
                  </a:cubicBezTo>
                  <a:cubicBezTo>
                    <a:pt x="894" y="792"/>
                    <a:pt x="842" y="791"/>
                    <a:pt x="791" y="790"/>
                  </a:cubicBezTo>
                  <a:cubicBezTo>
                    <a:pt x="790" y="790"/>
                    <a:pt x="790" y="791"/>
                    <a:pt x="790" y="792"/>
                  </a:cubicBezTo>
                  <a:close/>
                  <a:moveTo>
                    <a:pt x="1521" y="796"/>
                  </a:moveTo>
                  <a:cubicBezTo>
                    <a:pt x="1521" y="795"/>
                    <a:pt x="1522" y="788"/>
                    <a:pt x="1520" y="791"/>
                  </a:cubicBezTo>
                  <a:cubicBezTo>
                    <a:pt x="1520" y="793"/>
                    <a:pt x="1520" y="799"/>
                    <a:pt x="1521" y="796"/>
                  </a:cubicBezTo>
                  <a:close/>
                  <a:moveTo>
                    <a:pt x="515" y="804"/>
                  </a:moveTo>
                  <a:cubicBezTo>
                    <a:pt x="511" y="864"/>
                    <a:pt x="510" y="926"/>
                    <a:pt x="510" y="991"/>
                  </a:cubicBezTo>
                  <a:cubicBezTo>
                    <a:pt x="552" y="995"/>
                    <a:pt x="598" y="999"/>
                    <a:pt x="640" y="1000"/>
                  </a:cubicBezTo>
                  <a:cubicBezTo>
                    <a:pt x="631" y="934"/>
                    <a:pt x="624" y="865"/>
                    <a:pt x="620" y="794"/>
                  </a:cubicBezTo>
                  <a:cubicBezTo>
                    <a:pt x="584" y="797"/>
                    <a:pt x="549" y="799"/>
                    <a:pt x="515" y="804"/>
                  </a:cubicBezTo>
                  <a:close/>
                  <a:moveTo>
                    <a:pt x="948" y="845"/>
                  </a:moveTo>
                  <a:cubicBezTo>
                    <a:pt x="950" y="830"/>
                    <a:pt x="952" y="814"/>
                    <a:pt x="953" y="798"/>
                  </a:cubicBezTo>
                  <a:cubicBezTo>
                    <a:pt x="950" y="798"/>
                    <a:pt x="949" y="797"/>
                    <a:pt x="945" y="797"/>
                  </a:cubicBezTo>
                  <a:cubicBezTo>
                    <a:pt x="947" y="812"/>
                    <a:pt x="946" y="830"/>
                    <a:pt x="948" y="845"/>
                  </a:cubicBezTo>
                  <a:close/>
                  <a:moveTo>
                    <a:pt x="950" y="997"/>
                  </a:moveTo>
                  <a:cubicBezTo>
                    <a:pt x="991" y="993"/>
                    <a:pt x="1030" y="989"/>
                    <a:pt x="1070" y="985"/>
                  </a:cubicBezTo>
                  <a:cubicBezTo>
                    <a:pt x="1087" y="933"/>
                    <a:pt x="1099" y="877"/>
                    <a:pt x="1110" y="818"/>
                  </a:cubicBezTo>
                  <a:cubicBezTo>
                    <a:pt x="1061" y="809"/>
                    <a:pt x="1009" y="803"/>
                    <a:pt x="957" y="798"/>
                  </a:cubicBezTo>
                  <a:cubicBezTo>
                    <a:pt x="944" y="857"/>
                    <a:pt x="952" y="927"/>
                    <a:pt x="950" y="997"/>
                  </a:cubicBezTo>
                  <a:close/>
                  <a:moveTo>
                    <a:pt x="462" y="811"/>
                  </a:moveTo>
                  <a:cubicBezTo>
                    <a:pt x="470" y="866"/>
                    <a:pt x="483" y="925"/>
                    <a:pt x="495" y="975"/>
                  </a:cubicBezTo>
                  <a:cubicBezTo>
                    <a:pt x="497" y="982"/>
                    <a:pt x="496" y="993"/>
                    <a:pt x="508" y="991"/>
                  </a:cubicBezTo>
                  <a:cubicBezTo>
                    <a:pt x="507" y="935"/>
                    <a:pt x="508" y="873"/>
                    <a:pt x="511" y="820"/>
                  </a:cubicBezTo>
                  <a:cubicBezTo>
                    <a:pt x="512" y="816"/>
                    <a:pt x="515" y="807"/>
                    <a:pt x="510" y="804"/>
                  </a:cubicBezTo>
                  <a:cubicBezTo>
                    <a:pt x="494" y="807"/>
                    <a:pt x="477" y="808"/>
                    <a:pt x="462" y="811"/>
                  </a:cubicBezTo>
                  <a:close/>
                  <a:moveTo>
                    <a:pt x="318" y="839"/>
                  </a:moveTo>
                  <a:cubicBezTo>
                    <a:pt x="326" y="887"/>
                    <a:pt x="341" y="928"/>
                    <a:pt x="354" y="970"/>
                  </a:cubicBezTo>
                  <a:cubicBezTo>
                    <a:pt x="400" y="977"/>
                    <a:pt x="448" y="987"/>
                    <a:pt x="496" y="988"/>
                  </a:cubicBezTo>
                  <a:cubicBezTo>
                    <a:pt x="480" y="933"/>
                    <a:pt x="470" y="871"/>
                    <a:pt x="459" y="811"/>
                  </a:cubicBezTo>
                  <a:cubicBezTo>
                    <a:pt x="411" y="819"/>
                    <a:pt x="363" y="827"/>
                    <a:pt x="318" y="839"/>
                  </a:cubicBezTo>
                  <a:close/>
                  <a:moveTo>
                    <a:pt x="1113" y="819"/>
                  </a:moveTo>
                  <a:cubicBezTo>
                    <a:pt x="1113" y="819"/>
                    <a:pt x="1113" y="818"/>
                    <a:pt x="1112" y="818"/>
                  </a:cubicBezTo>
                  <a:cubicBezTo>
                    <a:pt x="1102" y="876"/>
                    <a:pt x="1089" y="932"/>
                    <a:pt x="1074" y="984"/>
                  </a:cubicBezTo>
                  <a:cubicBezTo>
                    <a:pt x="1100" y="981"/>
                    <a:pt x="1126" y="978"/>
                    <a:pt x="1151" y="973"/>
                  </a:cubicBezTo>
                  <a:cubicBezTo>
                    <a:pt x="1151" y="922"/>
                    <a:pt x="1149" y="873"/>
                    <a:pt x="1146" y="825"/>
                  </a:cubicBezTo>
                  <a:cubicBezTo>
                    <a:pt x="1135" y="823"/>
                    <a:pt x="1125" y="820"/>
                    <a:pt x="1113" y="819"/>
                  </a:cubicBezTo>
                  <a:close/>
                  <a:moveTo>
                    <a:pt x="46" y="1018"/>
                  </a:moveTo>
                  <a:cubicBezTo>
                    <a:pt x="45" y="1002"/>
                    <a:pt x="48" y="990"/>
                    <a:pt x="54" y="980"/>
                  </a:cubicBezTo>
                  <a:cubicBezTo>
                    <a:pt x="37" y="936"/>
                    <a:pt x="24" y="889"/>
                    <a:pt x="17" y="837"/>
                  </a:cubicBezTo>
                  <a:cubicBezTo>
                    <a:pt x="13" y="832"/>
                    <a:pt x="11" y="826"/>
                    <a:pt x="7" y="821"/>
                  </a:cubicBezTo>
                  <a:cubicBezTo>
                    <a:pt x="12" y="895"/>
                    <a:pt x="24" y="961"/>
                    <a:pt x="46" y="1018"/>
                  </a:cubicBezTo>
                  <a:close/>
                  <a:moveTo>
                    <a:pt x="1507" y="887"/>
                  </a:moveTo>
                  <a:cubicBezTo>
                    <a:pt x="1509" y="865"/>
                    <a:pt x="1516" y="844"/>
                    <a:pt x="1515" y="823"/>
                  </a:cubicBezTo>
                  <a:cubicBezTo>
                    <a:pt x="1506" y="838"/>
                    <a:pt x="1508" y="868"/>
                    <a:pt x="1507" y="887"/>
                  </a:cubicBezTo>
                  <a:close/>
                  <a:moveTo>
                    <a:pt x="1149" y="826"/>
                  </a:moveTo>
                  <a:cubicBezTo>
                    <a:pt x="1152" y="873"/>
                    <a:pt x="1154" y="922"/>
                    <a:pt x="1154" y="973"/>
                  </a:cubicBezTo>
                  <a:cubicBezTo>
                    <a:pt x="1174" y="969"/>
                    <a:pt x="1195" y="965"/>
                    <a:pt x="1215" y="961"/>
                  </a:cubicBezTo>
                  <a:cubicBezTo>
                    <a:pt x="1227" y="925"/>
                    <a:pt x="1240" y="889"/>
                    <a:pt x="1248" y="849"/>
                  </a:cubicBezTo>
                  <a:cubicBezTo>
                    <a:pt x="1215" y="841"/>
                    <a:pt x="1184" y="832"/>
                    <a:pt x="1149" y="826"/>
                  </a:cubicBezTo>
                  <a:close/>
                  <a:moveTo>
                    <a:pt x="1461" y="878"/>
                  </a:moveTo>
                  <a:cubicBezTo>
                    <a:pt x="1455" y="899"/>
                    <a:pt x="1449" y="921"/>
                    <a:pt x="1442" y="941"/>
                  </a:cubicBezTo>
                  <a:cubicBezTo>
                    <a:pt x="1456" y="956"/>
                    <a:pt x="1469" y="972"/>
                    <a:pt x="1476" y="993"/>
                  </a:cubicBezTo>
                  <a:cubicBezTo>
                    <a:pt x="1493" y="949"/>
                    <a:pt x="1507" y="896"/>
                    <a:pt x="1506" y="837"/>
                  </a:cubicBezTo>
                  <a:cubicBezTo>
                    <a:pt x="1495" y="854"/>
                    <a:pt x="1476" y="865"/>
                    <a:pt x="1461" y="878"/>
                  </a:cubicBezTo>
                  <a:close/>
                  <a:moveTo>
                    <a:pt x="196" y="877"/>
                  </a:moveTo>
                  <a:cubicBezTo>
                    <a:pt x="201" y="898"/>
                    <a:pt x="208" y="918"/>
                    <a:pt x="215" y="938"/>
                  </a:cubicBezTo>
                  <a:cubicBezTo>
                    <a:pt x="247" y="946"/>
                    <a:pt x="278" y="956"/>
                    <a:pt x="313" y="961"/>
                  </a:cubicBezTo>
                  <a:cubicBezTo>
                    <a:pt x="311" y="919"/>
                    <a:pt x="316" y="878"/>
                    <a:pt x="315" y="839"/>
                  </a:cubicBezTo>
                  <a:cubicBezTo>
                    <a:pt x="314" y="839"/>
                    <a:pt x="313" y="839"/>
                    <a:pt x="313" y="839"/>
                  </a:cubicBezTo>
                  <a:cubicBezTo>
                    <a:pt x="272" y="850"/>
                    <a:pt x="233" y="863"/>
                    <a:pt x="196" y="877"/>
                  </a:cubicBezTo>
                  <a:close/>
                  <a:moveTo>
                    <a:pt x="55" y="977"/>
                  </a:moveTo>
                  <a:cubicBezTo>
                    <a:pt x="56" y="970"/>
                    <a:pt x="61" y="968"/>
                    <a:pt x="63" y="962"/>
                  </a:cubicBezTo>
                  <a:cubicBezTo>
                    <a:pt x="57" y="935"/>
                    <a:pt x="56" y="902"/>
                    <a:pt x="54" y="871"/>
                  </a:cubicBezTo>
                  <a:cubicBezTo>
                    <a:pt x="42" y="861"/>
                    <a:pt x="30" y="852"/>
                    <a:pt x="20" y="840"/>
                  </a:cubicBezTo>
                  <a:cubicBezTo>
                    <a:pt x="27" y="890"/>
                    <a:pt x="39" y="936"/>
                    <a:pt x="55" y="977"/>
                  </a:cubicBezTo>
                  <a:close/>
                  <a:moveTo>
                    <a:pt x="1251" y="851"/>
                  </a:moveTo>
                  <a:cubicBezTo>
                    <a:pt x="1241" y="889"/>
                    <a:pt x="1230" y="925"/>
                    <a:pt x="1218" y="960"/>
                  </a:cubicBezTo>
                  <a:cubicBezTo>
                    <a:pt x="1253" y="953"/>
                    <a:pt x="1288" y="945"/>
                    <a:pt x="1320" y="935"/>
                  </a:cubicBezTo>
                  <a:cubicBezTo>
                    <a:pt x="1320" y="914"/>
                    <a:pt x="1320" y="893"/>
                    <a:pt x="1319" y="873"/>
                  </a:cubicBezTo>
                  <a:cubicBezTo>
                    <a:pt x="1296" y="866"/>
                    <a:pt x="1275" y="857"/>
                    <a:pt x="1251" y="851"/>
                  </a:cubicBezTo>
                  <a:close/>
                  <a:moveTo>
                    <a:pt x="316" y="962"/>
                  </a:moveTo>
                  <a:cubicBezTo>
                    <a:pt x="327" y="965"/>
                    <a:pt x="339" y="967"/>
                    <a:pt x="351" y="969"/>
                  </a:cubicBezTo>
                  <a:cubicBezTo>
                    <a:pt x="338" y="932"/>
                    <a:pt x="328" y="893"/>
                    <a:pt x="318" y="853"/>
                  </a:cubicBezTo>
                  <a:cubicBezTo>
                    <a:pt x="316" y="889"/>
                    <a:pt x="315" y="925"/>
                    <a:pt x="316" y="962"/>
                  </a:cubicBezTo>
                  <a:close/>
                  <a:moveTo>
                    <a:pt x="65" y="959"/>
                  </a:moveTo>
                  <a:cubicBezTo>
                    <a:pt x="75" y="948"/>
                    <a:pt x="90" y="935"/>
                    <a:pt x="102" y="923"/>
                  </a:cubicBezTo>
                  <a:cubicBezTo>
                    <a:pt x="99" y="914"/>
                    <a:pt x="96" y="904"/>
                    <a:pt x="94" y="894"/>
                  </a:cubicBezTo>
                  <a:cubicBezTo>
                    <a:pt x="80" y="889"/>
                    <a:pt x="69" y="880"/>
                    <a:pt x="56" y="873"/>
                  </a:cubicBezTo>
                  <a:cubicBezTo>
                    <a:pt x="59" y="902"/>
                    <a:pt x="60" y="932"/>
                    <a:pt x="65" y="959"/>
                  </a:cubicBezTo>
                  <a:close/>
                  <a:moveTo>
                    <a:pt x="1322" y="934"/>
                  </a:moveTo>
                  <a:cubicBezTo>
                    <a:pt x="1332" y="932"/>
                    <a:pt x="1340" y="928"/>
                    <a:pt x="1350" y="925"/>
                  </a:cubicBezTo>
                  <a:cubicBezTo>
                    <a:pt x="1354" y="914"/>
                    <a:pt x="1357" y="903"/>
                    <a:pt x="1360" y="891"/>
                  </a:cubicBezTo>
                  <a:cubicBezTo>
                    <a:pt x="1347" y="886"/>
                    <a:pt x="1335" y="880"/>
                    <a:pt x="1322" y="875"/>
                  </a:cubicBezTo>
                  <a:cubicBezTo>
                    <a:pt x="1323" y="895"/>
                    <a:pt x="1323" y="913"/>
                    <a:pt x="1322" y="934"/>
                  </a:cubicBezTo>
                  <a:close/>
                  <a:moveTo>
                    <a:pt x="194" y="879"/>
                  </a:moveTo>
                  <a:cubicBezTo>
                    <a:pt x="181" y="882"/>
                    <a:pt x="173" y="889"/>
                    <a:pt x="161" y="892"/>
                  </a:cubicBezTo>
                  <a:cubicBezTo>
                    <a:pt x="161" y="902"/>
                    <a:pt x="161" y="911"/>
                    <a:pt x="161" y="921"/>
                  </a:cubicBezTo>
                  <a:cubicBezTo>
                    <a:pt x="179" y="925"/>
                    <a:pt x="195" y="935"/>
                    <a:pt x="212" y="935"/>
                  </a:cubicBezTo>
                  <a:cubicBezTo>
                    <a:pt x="205" y="917"/>
                    <a:pt x="199" y="899"/>
                    <a:pt x="194" y="879"/>
                  </a:cubicBezTo>
                  <a:close/>
                  <a:moveTo>
                    <a:pt x="1457" y="881"/>
                  </a:moveTo>
                  <a:cubicBezTo>
                    <a:pt x="1457" y="880"/>
                    <a:pt x="1456" y="880"/>
                    <a:pt x="1455" y="880"/>
                  </a:cubicBezTo>
                  <a:cubicBezTo>
                    <a:pt x="1452" y="883"/>
                    <a:pt x="1447" y="885"/>
                    <a:pt x="1443" y="887"/>
                  </a:cubicBezTo>
                  <a:cubicBezTo>
                    <a:pt x="1443" y="905"/>
                    <a:pt x="1440" y="923"/>
                    <a:pt x="1441" y="937"/>
                  </a:cubicBezTo>
                  <a:cubicBezTo>
                    <a:pt x="1443" y="919"/>
                    <a:pt x="1456" y="899"/>
                    <a:pt x="1457" y="881"/>
                  </a:cubicBezTo>
                  <a:close/>
                  <a:moveTo>
                    <a:pt x="1505" y="889"/>
                  </a:moveTo>
                  <a:cubicBezTo>
                    <a:pt x="1506" y="893"/>
                    <a:pt x="1506" y="886"/>
                    <a:pt x="1505" y="889"/>
                  </a:cubicBezTo>
                  <a:close/>
                  <a:moveTo>
                    <a:pt x="1399" y="909"/>
                  </a:moveTo>
                  <a:cubicBezTo>
                    <a:pt x="1411" y="918"/>
                    <a:pt x="1425" y="927"/>
                    <a:pt x="1437" y="936"/>
                  </a:cubicBezTo>
                  <a:cubicBezTo>
                    <a:pt x="1438" y="922"/>
                    <a:pt x="1441" y="904"/>
                    <a:pt x="1439" y="889"/>
                  </a:cubicBezTo>
                  <a:cubicBezTo>
                    <a:pt x="1427" y="897"/>
                    <a:pt x="1413" y="903"/>
                    <a:pt x="1399" y="909"/>
                  </a:cubicBezTo>
                  <a:close/>
                  <a:moveTo>
                    <a:pt x="1354" y="924"/>
                  </a:moveTo>
                  <a:cubicBezTo>
                    <a:pt x="1366" y="919"/>
                    <a:pt x="1379" y="914"/>
                    <a:pt x="1392" y="910"/>
                  </a:cubicBezTo>
                  <a:cubicBezTo>
                    <a:pt x="1384" y="902"/>
                    <a:pt x="1373" y="898"/>
                    <a:pt x="1363" y="893"/>
                  </a:cubicBezTo>
                  <a:cubicBezTo>
                    <a:pt x="1360" y="903"/>
                    <a:pt x="1354" y="915"/>
                    <a:pt x="1354" y="924"/>
                  </a:cubicBezTo>
                  <a:close/>
                  <a:moveTo>
                    <a:pt x="131" y="910"/>
                  </a:moveTo>
                  <a:cubicBezTo>
                    <a:pt x="141" y="912"/>
                    <a:pt x="148" y="917"/>
                    <a:pt x="158" y="919"/>
                  </a:cubicBezTo>
                  <a:cubicBezTo>
                    <a:pt x="158" y="911"/>
                    <a:pt x="159" y="901"/>
                    <a:pt x="157" y="894"/>
                  </a:cubicBezTo>
                  <a:cubicBezTo>
                    <a:pt x="149" y="900"/>
                    <a:pt x="139" y="903"/>
                    <a:pt x="131" y="910"/>
                  </a:cubicBezTo>
                  <a:close/>
                  <a:moveTo>
                    <a:pt x="929" y="998"/>
                  </a:moveTo>
                  <a:cubicBezTo>
                    <a:pt x="936" y="999"/>
                    <a:pt x="939" y="996"/>
                    <a:pt x="945" y="997"/>
                  </a:cubicBezTo>
                  <a:cubicBezTo>
                    <a:pt x="947" y="964"/>
                    <a:pt x="945" y="928"/>
                    <a:pt x="944" y="895"/>
                  </a:cubicBezTo>
                  <a:cubicBezTo>
                    <a:pt x="941" y="931"/>
                    <a:pt x="935" y="964"/>
                    <a:pt x="929" y="998"/>
                  </a:cubicBezTo>
                  <a:close/>
                  <a:moveTo>
                    <a:pt x="98" y="897"/>
                  </a:moveTo>
                  <a:cubicBezTo>
                    <a:pt x="99" y="906"/>
                    <a:pt x="103" y="913"/>
                    <a:pt x="104" y="922"/>
                  </a:cubicBezTo>
                  <a:cubicBezTo>
                    <a:pt x="112" y="918"/>
                    <a:pt x="119" y="915"/>
                    <a:pt x="125" y="909"/>
                  </a:cubicBezTo>
                  <a:cubicBezTo>
                    <a:pt x="115" y="906"/>
                    <a:pt x="107" y="900"/>
                    <a:pt x="98" y="897"/>
                  </a:cubicBezTo>
                  <a:moveTo>
                    <a:pt x="98" y="897"/>
                  </a:moveTo>
                  <a:cubicBezTo>
                    <a:pt x="97" y="896"/>
                    <a:pt x="97" y="897"/>
                    <a:pt x="98" y="897"/>
                  </a:cubicBezTo>
                  <a:moveTo>
                    <a:pt x="128" y="911"/>
                  </a:moveTo>
                  <a:cubicBezTo>
                    <a:pt x="121" y="916"/>
                    <a:pt x="111" y="919"/>
                    <a:pt x="106" y="927"/>
                  </a:cubicBezTo>
                  <a:cubicBezTo>
                    <a:pt x="126" y="981"/>
                    <a:pt x="148" y="1032"/>
                    <a:pt x="176" y="1078"/>
                  </a:cubicBezTo>
                  <a:cubicBezTo>
                    <a:pt x="166" y="1030"/>
                    <a:pt x="160" y="978"/>
                    <a:pt x="158" y="922"/>
                  </a:cubicBezTo>
                  <a:cubicBezTo>
                    <a:pt x="148" y="919"/>
                    <a:pt x="138" y="915"/>
                    <a:pt x="128" y="911"/>
                  </a:cubicBezTo>
                  <a:close/>
                  <a:moveTo>
                    <a:pt x="1396" y="911"/>
                  </a:moveTo>
                  <a:cubicBezTo>
                    <a:pt x="1381" y="916"/>
                    <a:pt x="1367" y="923"/>
                    <a:pt x="1351" y="927"/>
                  </a:cubicBezTo>
                  <a:cubicBezTo>
                    <a:pt x="1341" y="957"/>
                    <a:pt x="1330" y="985"/>
                    <a:pt x="1317" y="1011"/>
                  </a:cubicBezTo>
                  <a:cubicBezTo>
                    <a:pt x="1313" y="1047"/>
                    <a:pt x="1308" y="1080"/>
                    <a:pt x="1301" y="1111"/>
                  </a:cubicBezTo>
                  <a:cubicBezTo>
                    <a:pt x="1314" y="1119"/>
                    <a:pt x="1324" y="1130"/>
                    <a:pt x="1336" y="1139"/>
                  </a:cubicBezTo>
                  <a:cubicBezTo>
                    <a:pt x="1376" y="1079"/>
                    <a:pt x="1414" y="1018"/>
                    <a:pt x="1437" y="941"/>
                  </a:cubicBezTo>
                  <a:cubicBezTo>
                    <a:pt x="1425" y="929"/>
                    <a:pt x="1410" y="920"/>
                    <a:pt x="1396" y="911"/>
                  </a:cubicBezTo>
                  <a:close/>
                  <a:moveTo>
                    <a:pt x="161" y="927"/>
                  </a:moveTo>
                  <a:cubicBezTo>
                    <a:pt x="163" y="985"/>
                    <a:pt x="170" y="1038"/>
                    <a:pt x="181" y="1087"/>
                  </a:cubicBezTo>
                  <a:cubicBezTo>
                    <a:pt x="190" y="1099"/>
                    <a:pt x="197" y="1113"/>
                    <a:pt x="206" y="1125"/>
                  </a:cubicBezTo>
                  <a:cubicBezTo>
                    <a:pt x="227" y="1107"/>
                    <a:pt x="251" y="1093"/>
                    <a:pt x="277" y="1081"/>
                  </a:cubicBezTo>
                  <a:cubicBezTo>
                    <a:pt x="255" y="1036"/>
                    <a:pt x="231" y="992"/>
                    <a:pt x="214" y="940"/>
                  </a:cubicBezTo>
                  <a:cubicBezTo>
                    <a:pt x="195" y="936"/>
                    <a:pt x="179" y="929"/>
                    <a:pt x="161" y="924"/>
                  </a:cubicBezTo>
                  <a:cubicBezTo>
                    <a:pt x="161" y="925"/>
                    <a:pt x="161" y="926"/>
                    <a:pt x="161" y="927"/>
                  </a:cubicBezTo>
                  <a:close/>
                  <a:moveTo>
                    <a:pt x="66" y="965"/>
                  </a:moveTo>
                  <a:cubicBezTo>
                    <a:pt x="64" y="977"/>
                    <a:pt x="71" y="992"/>
                    <a:pt x="74" y="1005"/>
                  </a:cubicBezTo>
                  <a:cubicBezTo>
                    <a:pt x="77" y="1019"/>
                    <a:pt x="78" y="1032"/>
                    <a:pt x="82" y="1043"/>
                  </a:cubicBezTo>
                  <a:cubicBezTo>
                    <a:pt x="93" y="1070"/>
                    <a:pt x="112" y="1092"/>
                    <a:pt x="122" y="1112"/>
                  </a:cubicBezTo>
                  <a:cubicBezTo>
                    <a:pt x="142" y="1123"/>
                    <a:pt x="164" y="1137"/>
                    <a:pt x="186" y="1144"/>
                  </a:cubicBezTo>
                  <a:cubicBezTo>
                    <a:pt x="195" y="1137"/>
                    <a:pt x="189" y="1127"/>
                    <a:pt x="186" y="1118"/>
                  </a:cubicBezTo>
                  <a:cubicBezTo>
                    <a:pt x="183" y="1108"/>
                    <a:pt x="181" y="1097"/>
                    <a:pt x="179" y="1087"/>
                  </a:cubicBezTo>
                  <a:cubicBezTo>
                    <a:pt x="149" y="1039"/>
                    <a:pt x="124" y="986"/>
                    <a:pt x="104" y="928"/>
                  </a:cubicBezTo>
                  <a:cubicBezTo>
                    <a:pt x="104" y="927"/>
                    <a:pt x="104" y="927"/>
                    <a:pt x="103" y="927"/>
                  </a:cubicBezTo>
                  <a:cubicBezTo>
                    <a:pt x="95" y="937"/>
                    <a:pt x="68" y="952"/>
                    <a:pt x="66" y="965"/>
                  </a:cubicBezTo>
                  <a:close/>
                  <a:moveTo>
                    <a:pt x="1322" y="936"/>
                  </a:moveTo>
                  <a:cubicBezTo>
                    <a:pt x="1322" y="959"/>
                    <a:pt x="1319" y="983"/>
                    <a:pt x="1319" y="1003"/>
                  </a:cubicBezTo>
                  <a:cubicBezTo>
                    <a:pt x="1329" y="979"/>
                    <a:pt x="1339" y="954"/>
                    <a:pt x="1349" y="929"/>
                  </a:cubicBezTo>
                  <a:cubicBezTo>
                    <a:pt x="1339" y="930"/>
                    <a:pt x="1332" y="935"/>
                    <a:pt x="1322" y="936"/>
                  </a:cubicBezTo>
                  <a:close/>
                  <a:moveTo>
                    <a:pt x="1216" y="963"/>
                  </a:moveTo>
                  <a:cubicBezTo>
                    <a:pt x="1206" y="996"/>
                    <a:pt x="1192" y="1025"/>
                    <a:pt x="1179" y="1055"/>
                  </a:cubicBezTo>
                  <a:cubicBezTo>
                    <a:pt x="1212" y="1065"/>
                    <a:pt x="1242" y="1078"/>
                    <a:pt x="1271" y="1093"/>
                  </a:cubicBezTo>
                  <a:cubicBezTo>
                    <a:pt x="1278" y="1080"/>
                    <a:pt x="1286" y="1067"/>
                    <a:pt x="1294" y="1053"/>
                  </a:cubicBezTo>
                  <a:cubicBezTo>
                    <a:pt x="1300" y="1041"/>
                    <a:pt x="1312" y="1023"/>
                    <a:pt x="1315" y="1010"/>
                  </a:cubicBezTo>
                  <a:cubicBezTo>
                    <a:pt x="1320" y="988"/>
                    <a:pt x="1316" y="966"/>
                    <a:pt x="1319" y="938"/>
                  </a:cubicBezTo>
                  <a:cubicBezTo>
                    <a:pt x="1318" y="938"/>
                    <a:pt x="1318" y="938"/>
                    <a:pt x="1317" y="938"/>
                  </a:cubicBezTo>
                  <a:cubicBezTo>
                    <a:pt x="1285" y="948"/>
                    <a:pt x="1252" y="957"/>
                    <a:pt x="1216" y="963"/>
                  </a:cubicBezTo>
                  <a:close/>
                  <a:moveTo>
                    <a:pt x="280" y="1079"/>
                  </a:moveTo>
                  <a:cubicBezTo>
                    <a:pt x="293" y="1075"/>
                    <a:pt x="305" y="1068"/>
                    <a:pt x="319" y="1064"/>
                  </a:cubicBezTo>
                  <a:cubicBezTo>
                    <a:pt x="315" y="1033"/>
                    <a:pt x="314" y="998"/>
                    <a:pt x="313" y="964"/>
                  </a:cubicBezTo>
                  <a:cubicBezTo>
                    <a:pt x="279" y="958"/>
                    <a:pt x="248" y="950"/>
                    <a:pt x="217" y="941"/>
                  </a:cubicBezTo>
                  <a:cubicBezTo>
                    <a:pt x="234" y="991"/>
                    <a:pt x="256" y="1036"/>
                    <a:pt x="280" y="1079"/>
                  </a:cubicBezTo>
                  <a:close/>
                  <a:moveTo>
                    <a:pt x="1403" y="1111"/>
                  </a:moveTo>
                  <a:cubicBezTo>
                    <a:pt x="1431" y="1098"/>
                    <a:pt x="1442" y="1073"/>
                    <a:pt x="1454" y="1045"/>
                  </a:cubicBezTo>
                  <a:cubicBezTo>
                    <a:pt x="1461" y="1029"/>
                    <a:pt x="1470" y="1013"/>
                    <a:pt x="1474" y="997"/>
                  </a:cubicBezTo>
                  <a:cubicBezTo>
                    <a:pt x="1468" y="975"/>
                    <a:pt x="1455" y="958"/>
                    <a:pt x="1440" y="944"/>
                  </a:cubicBezTo>
                  <a:cubicBezTo>
                    <a:pt x="1433" y="1004"/>
                    <a:pt x="1418" y="1062"/>
                    <a:pt x="1403" y="1111"/>
                  </a:cubicBezTo>
                  <a:close/>
                  <a:moveTo>
                    <a:pt x="1491" y="959"/>
                  </a:moveTo>
                  <a:cubicBezTo>
                    <a:pt x="1492" y="962"/>
                    <a:pt x="1492" y="955"/>
                    <a:pt x="1491" y="959"/>
                  </a:cubicBezTo>
                  <a:close/>
                  <a:moveTo>
                    <a:pt x="1434" y="961"/>
                  </a:moveTo>
                  <a:cubicBezTo>
                    <a:pt x="1434" y="961"/>
                    <a:pt x="1435" y="962"/>
                    <a:pt x="1434" y="961"/>
                  </a:cubicBezTo>
                  <a:close/>
                  <a:moveTo>
                    <a:pt x="1490" y="963"/>
                  </a:moveTo>
                  <a:cubicBezTo>
                    <a:pt x="1489" y="963"/>
                    <a:pt x="1489" y="963"/>
                    <a:pt x="1489" y="963"/>
                  </a:cubicBezTo>
                  <a:cubicBezTo>
                    <a:pt x="1487" y="979"/>
                    <a:pt x="1474" y="992"/>
                    <a:pt x="1479" y="1008"/>
                  </a:cubicBezTo>
                  <a:cubicBezTo>
                    <a:pt x="1482" y="992"/>
                    <a:pt x="1488" y="980"/>
                    <a:pt x="1490" y="963"/>
                  </a:cubicBezTo>
                  <a:moveTo>
                    <a:pt x="1490" y="963"/>
                  </a:moveTo>
                  <a:cubicBezTo>
                    <a:pt x="1493" y="962"/>
                    <a:pt x="1489" y="958"/>
                    <a:pt x="1490" y="963"/>
                  </a:cubicBezTo>
                  <a:moveTo>
                    <a:pt x="1350" y="1123"/>
                  </a:moveTo>
                  <a:cubicBezTo>
                    <a:pt x="1346" y="1129"/>
                    <a:pt x="1339" y="1135"/>
                    <a:pt x="1338" y="1144"/>
                  </a:cubicBezTo>
                  <a:cubicBezTo>
                    <a:pt x="1361" y="1136"/>
                    <a:pt x="1379" y="1125"/>
                    <a:pt x="1398" y="1114"/>
                  </a:cubicBezTo>
                  <a:cubicBezTo>
                    <a:pt x="1414" y="1068"/>
                    <a:pt x="1429" y="1017"/>
                    <a:pt x="1433" y="963"/>
                  </a:cubicBezTo>
                  <a:cubicBezTo>
                    <a:pt x="1411" y="1021"/>
                    <a:pt x="1383" y="1076"/>
                    <a:pt x="1350" y="1123"/>
                  </a:cubicBezTo>
                  <a:close/>
                  <a:moveTo>
                    <a:pt x="1213" y="965"/>
                  </a:moveTo>
                  <a:cubicBezTo>
                    <a:pt x="1195" y="967"/>
                    <a:pt x="1173" y="973"/>
                    <a:pt x="1153" y="976"/>
                  </a:cubicBezTo>
                  <a:cubicBezTo>
                    <a:pt x="1153" y="1000"/>
                    <a:pt x="1152" y="1023"/>
                    <a:pt x="1150" y="1046"/>
                  </a:cubicBezTo>
                  <a:cubicBezTo>
                    <a:pt x="1160" y="1048"/>
                    <a:pt x="1167" y="1052"/>
                    <a:pt x="1177" y="1054"/>
                  </a:cubicBezTo>
                  <a:cubicBezTo>
                    <a:pt x="1190" y="1025"/>
                    <a:pt x="1202" y="996"/>
                    <a:pt x="1213" y="965"/>
                  </a:cubicBezTo>
                  <a:close/>
                  <a:moveTo>
                    <a:pt x="321" y="1062"/>
                  </a:moveTo>
                  <a:cubicBezTo>
                    <a:pt x="341" y="1057"/>
                    <a:pt x="360" y="1049"/>
                    <a:pt x="380" y="1044"/>
                  </a:cubicBezTo>
                  <a:cubicBezTo>
                    <a:pt x="370" y="1020"/>
                    <a:pt x="361" y="996"/>
                    <a:pt x="352" y="972"/>
                  </a:cubicBezTo>
                  <a:cubicBezTo>
                    <a:pt x="339" y="970"/>
                    <a:pt x="328" y="967"/>
                    <a:pt x="316" y="965"/>
                  </a:cubicBezTo>
                  <a:cubicBezTo>
                    <a:pt x="316" y="999"/>
                    <a:pt x="319" y="1030"/>
                    <a:pt x="321" y="1062"/>
                  </a:cubicBezTo>
                  <a:close/>
                  <a:moveTo>
                    <a:pt x="75" y="1024"/>
                  </a:moveTo>
                  <a:cubicBezTo>
                    <a:pt x="70" y="1006"/>
                    <a:pt x="68" y="985"/>
                    <a:pt x="62" y="968"/>
                  </a:cubicBezTo>
                  <a:cubicBezTo>
                    <a:pt x="50" y="986"/>
                    <a:pt x="69" y="1007"/>
                    <a:pt x="75" y="1024"/>
                  </a:cubicBezTo>
                  <a:close/>
                  <a:moveTo>
                    <a:pt x="382" y="1043"/>
                  </a:moveTo>
                  <a:cubicBezTo>
                    <a:pt x="421" y="1032"/>
                    <a:pt x="463" y="1025"/>
                    <a:pt x="504" y="1016"/>
                  </a:cubicBezTo>
                  <a:cubicBezTo>
                    <a:pt x="501" y="1009"/>
                    <a:pt x="499" y="1001"/>
                    <a:pt x="497" y="992"/>
                  </a:cubicBezTo>
                  <a:cubicBezTo>
                    <a:pt x="448" y="988"/>
                    <a:pt x="402" y="981"/>
                    <a:pt x="356" y="973"/>
                  </a:cubicBezTo>
                  <a:cubicBezTo>
                    <a:pt x="363" y="998"/>
                    <a:pt x="374" y="1019"/>
                    <a:pt x="382" y="1043"/>
                  </a:cubicBezTo>
                  <a:close/>
                  <a:moveTo>
                    <a:pt x="1150" y="976"/>
                  </a:moveTo>
                  <a:cubicBezTo>
                    <a:pt x="1125" y="981"/>
                    <a:pt x="1099" y="984"/>
                    <a:pt x="1073" y="987"/>
                  </a:cubicBezTo>
                  <a:cubicBezTo>
                    <a:pt x="1069" y="1000"/>
                    <a:pt x="1065" y="1012"/>
                    <a:pt x="1062" y="1025"/>
                  </a:cubicBezTo>
                  <a:cubicBezTo>
                    <a:pt x="1092" y="1029"/>
                    <a:pt x="1121" y="1039"/>
                    <a:pt x="1148" y="1044"/>
                  </a:cubicBezTo>
                  <a:cubicBezTo>
                    <a:pt x="1148" y="1021"/>
                    <a:pt x="1151" y="996"/>
                    <a:pt x="1150" y="976"/>
                  </a:cubicBezTo>
                  <a:close/>
                  <a:moveTo>
                    <a:pt x="95" y="1092"/>
                  </a:moveTo>
                  <a:cubicBezTo>
                    <a:pt x="95" y="1093"/>
                    <a:pt x="96" y="1092"/>
                    <a:pt x="95" y="1092"/>
                  </a:cubicBezTo>
                  <a:moveTo>
                    <a:pt x="95" y="1092"/>
                  </a:moveTo>
                  <a:cubicBezTo>
                    <a:pt x="84" y="1053"/>
                    <a:pt x="70" y="1017"/>
                    <a:pt x="54" y="984"/>
                  </a:cubicBezTo>
                  <a:cubicBezTo>
                    <a:pt x="36" y="1032"/>
                    <a:pt x="67" y="1071"/>
                    <a:pt x="95" y="1092"/>
                  </a:cubicBezTo>
                  <a:moveTo>
                    <a:pt x="950" y="1000"/>
                  </a:moveTo>
                  <a:cubicBezTo>
                    <a:pt x="950" y="1002"/>
                    <a:pt x="950" y="1004"/>
                    <a:pt x="950" y="1007"/>
                  </a:cubicBezTo>
                  <a:cubicBezTo>
                    <a:pt x="986" y="1013"/>
                    <a:pt x="1024" y="1017"/>
                    <a:pt x="1059" y="1024"/>
                  </a:cubicBezTo>
                  <a:cubicBezTo>
                    <a:pt x="1063" y="1013"/>
                    <a:pt x="1066" y="1000"/>
                    <a:pt x="1070" y="988"/>
                  </a:cubicBezTo>
                  <a:cubicBezTo>
                    <a:pt x="1030" y="992"/>
                    <a:pt x="990" y="996"/>
                    <a:pt x="950" y="1000"/>
                  </a:cubicBezTo>
                  <a:close/>
                  <a:moveTo>
                    <a:pt x="508" y="1016"/>
                  </a:moveTo>
                  <a:cubicBezTo>
                    <a:pt x="508" y="1009"/>
                    <a:pt x="508" y="1001"/>
                    <a:pt x="508" y="994"/>
                  </a:cubicBezTo>
                  <a:cubicBezTo>
                    <a:pt x="506" y="993"/>
                    <a:pt x="503" y="993"/>
                    <a:pt x="500" y="993"/>
                  </a:cubicBezTo>
                  <a:cubicBezTo>
                    <a:pt x="502" y="1001"/>
                    <a:pt x="502" y="1011"/>
                    <a:pt x="508" y="1016"/>
                  </a:cubicBezTo>
                  <a:close/>
                  <a:moveTo>
                    <a:pt x="510" y="994"/>
                  </a:moveTo>
                  <a:cubicBezTo>
                    <a:pt x="511" y="1001"/>
                    <a:pt x="509" y="1011"/>
                    <a:pt x="511" y="1016"/>
                  </a:cubicBezTo>
                  <a:cubicBezTo>
                    <a:pt x="545" y="1009"/>
                    <a:pt x="584" y="1008"/>
                    <a:pt x="619" y="1002"/>
                  </a:cubicBezTo>
                  <a:cubicBezTo>
                    <a:pt x="581" y="1001"/>
                    <a:pt x="546" y="997"/>
                    <a:pt x="510" y="994"/>
                  </a:cubicBezTo>
                  <a:close/>
                  <a:moveTo>
                    <a:pt x="684" y="1002"/>
                  </a:moveTo>
                  <a:cubicBezTo>
                    <a:pt x="696" y="1003"/>
                    <a:pt x="716" y="1005"/>
                    <a:pt x="726" y="1001"/>
                  </a:cubicBezTo>
                  <a:cubicBezTo>
                    <a:pt x="714" y="999"/>
                    <a:pt x="697" y="1001"/>
                    <a:pt x="684" y="1002"/>
                  </a:cubicBezTo>
                  <a:close/>
                  <a:moveTo>
                    <a:pt x="728" y="1002"/>
                  </a:moveTo>
                  <a:cubicBezTo>
                    <a:pt x="729" y="1002"/>
                    <a:pt x="729" y="1003"/>
                    <a:pt x="730" y="1003"/>
                  </a:cubicBezTo>
                  <a:cubicBezTo>
                    <a:pt x="740" y="1004"/>
                    <a:pt x="752" y="1004"/>
                    <a:pt x="763" y="1004"/>
                  </a:cubicBezTo>
                  <a:cubicBezTo>
                    <a:pt x="770" y="1004"/>
                    <a:pt x="780" y="1006"/>
                    <a:pt x="783" y="1001"/>
                  </a:cubicBezTo>
                  <a:cubicBezTo>
                    <a:pt x="767" y="1000"/>
                    <a:pt x="743" y="998"/>
                    <a:pt x="728" y="1002"/>
                  </a:cubicBezTo>
                  <a:close/>
                  <a:moveTo>
                    <a:pt x="786" y="1002"/>
                  </a:moveTo>
                  <a:cubicBezTo>
                    <a:pt x="802" y="1003"/>
                    <a:pt x="826" y="1004"/>
                    <a:pt x="840" y="1001"/>
                  </a:cubicBezTo>
                  <a:cubicBezTo>
                    <a:pt x="822" y="1003"/>
                    <a:pt x="801" y="997"/>
                    <a:pt x="786" y="1002"/>
                  </a:cubicBezTo>
                  <a:close/>
                  <a:moveTo>
                    <a:pt x="928" y="1005"/>
                  </a:moveTo>
                  <a:cubicBezTo>
                    <a:pt x="933" y="1006"/>
                    <a:pt x="939" y="1006"/>
                    <a:pt x="945" y="1007"/>
                  </a:cubicBezTo>
                  <a:cubicBezTo>
                    <a:pt x="945" y="1004"/>
                    <a:pt x="945" y="1002"/>
                    <a:pt x="945" y="1000"/>
                  </a:cubicBezTo>
                  <a:cubicBezTo>
                    <a:pt x="939" y="1001"/>
                    <a:pt x="929" y="998"/>
                    <a:pt x="928" y="1005"/>
                  </a:cubicBezTo>
                  <a:close/>
                  <a:moveTo>
                    <a:pt x="905" y="1003"/>
                  </a:moveTo>
                  <a:cubicBezTo>
                    <a:pt x="911" y="1002"/>
                    <a:pt x="924" y="1008"/>
                    <a:pt x="926" y="1002"/>
                  </a:cubicBezTo>
                  <a:cubicBezTo>
                    <a:pt x="921" y="1001"/>
                    <a:pt x="911" y="1002"/>
                    <a:pt x="905" y="1003"/>
                  </a:cubicBezTo>
                  <a:close/>
                  <a:moveTo>
                    <a:pt x="510" y="1018"/>
                  </a:moveTo>
                  <a:cubicBezTo>
                    <a:pt x="512" y="1043"/>
                    <a:pt x="518" y="1061"/>
                    <a:pt x="525" y="1080"/>
                  </a:cubicBezTo>
                  <a:cubicBezTo>
                    <a:pt x="539" y="1124"/>
                    <a:pt x="556" y="1165"/>
                    <a:pt x="573" y="1204"/>
                  </a:cubicBezTo>
                  <a:cubicBezTo>
                    <a:pt x="605" y="1200"/>
                    <a:pt x="636" y="1195"/>
                    <a:pt x="671" y="1193"/>
                  </a:cubicBezTo>
                  <a:cubicBezTo>
                    <a:pt x="658" y="1137"/>
                    <a:pt x="651" y="1072"/>
                    <a:pt x="641" y="1014"/>
                  </a:cubicBezTo>
                  <a:cubicBezTo>
                    <a:pt x="641" y="1011"/>
                    <a:pt x="643" y="1004"/>
                    <a:pt x="637" y="1004"/>
                  </a:cubicBezTo>
                  <a:cubicBezTo>
                    <a:pt x="594" y="1007"/>
                    <a:pt x="552" y="1012"/>
                    <a:pt x="510" y="1018"/>
                  </a:cubicBezTo>
                  <a:close/>
                  <a:moveTo>
                    <a:pt x="675" y="1192"/>
                  </a:moveTo>
                  <a:cubicBezTo>
                    <a:pt x="693" y="1192"/>
                    <a:pt x="708" y="1189"/>
                    <a:pt x="726" y="1190"/>
                  </a:cubicBezTo>
                  <a:cubicBezTo>
                    <a:pt x="727" y="1128"/>
                    <a:pt x="725" y="1068"/>
                    <a:pt x="726" y="1006"/>
                  </a:cubicBezTo>
                  <a:cubicBezTo>
                    <a:pt x="697" y="1006"/>
                    <a:pt x="672" y="1004"/>
                    <a:pt x="645" y="1004"/>
                  </a:cubicBezTo>
                  <a:cubicBezTo>
                    <a:pt x="650" y="1067"/>
                    <a:pt x="663" y="1131"/>
                    <a:pt x="675" y="1192"/>
                  </a:cubicBezTo>
                  <a:close/>
                  <a:moveTo>
                    <a:pt x="786" y="1006"/>
                  </a:moveTo>
                  <a:cubicBezTo>
                    <a:pt x="784" y="1067"/>
                    <a:pt x="782" y="1128"/>
                    <a:pt x="780" y="1189"/>
                  </a:cubicBezTo>
                  <a:cubicBezTo>
                    <a:pt x="815" y="1190"/>
                    <a:pt x="851" y="1191"/>
                    <a:pt x="883" y="1196"/>
                  </a:cubicBezTo>
                  <a:cubicBezTo>
                    <a:pt x="899" y="1135"/>
                    <a:pt x="913" y="1072"/>
                    <a:pt x="925" y="1007"/>
                  </a:cubicBezTo>
                  <a:cubicBezTo>
                    <a:pt x="882" y="1000"/>
                    <a:pt x="834" y="1007"/>
                    <a:pt x="786" y="1006"/>
                  </a:cubicBezTo>
                  <a:close/>
                  <a:moveTo>
                    <a:pt x="1439" y="1083"/>
                  </a:moveTo>
                  <a:cubicBezTo>
                    <a:pt x="1437" y="1084"/>
                    <a:pt x="1439" y="1084"/>
                    <a:pt x="1439" y="1083"/>
                  </a:cubicBezTo>
                  <a:moveTo>
                    <a:pt x="1439" y="1083"/>
                  </a:moveTo>
                  <a:cubicBezTo>
                    <a:pt x="1439" y="1083"/>
                    <a:pt x="1440" y="1083"/>
                    <a:pt x="1440" y="1083"/>
                  </a:cubicBezTo>
                  <a:cubicBezTo>
                    <a:pt x="1458" y="1065"/>
                    <a:pt x="1478" y="1037"/>
                    <a:pt x="1474" y="1004"/>
                  </a:cubicBezTo>
                  <a:cubicBezTo>
                    <a:pt x="1465" y="1033"/>
                    <a:pt x="1451" y="1057"/>
                    <a:pt x="1439" y="1083"/>
                  </a:cubicBezTo>
                  <a:moveTo>
                    <a:pt x="729" y="1190"/>
                  </a:moveTo>
                  <a:cubicBezTo>
                    <a:pt x="744" y="1188"/>
                    <a:pt x="762" y="1189"/>
                    <a:pt x="777" y="1189"/>
                  </a:cubicBezTo>
                  <a:cubicBezTo>
                    <a:pt x="780" y="1129"/>
                    <a:pt x="782" y="1067"/>
                    <a:pt x="783" y="1006"/>
                  </a:cubicBezTo>
                  <a:cubicBezTo>
                    <a:pt x="765" y="1006"/>
                    <a:pt x="747" y="1006"/>
                    <a:pt x="729" y="1006"/>
                  </a:cubicBezTo>
                  <a:cubicBezTo>
                    <a:pt x="727" y="1066"/>
                    <a:pt x="729" y="1129"/>
                    <a:pt x="729" y="1190"/>
                  </a:cubicBezTo>
                  <a:close/>
                  <a:moveTo>
                    <a:pt x="928" y="1007"/>
                  </a:moveTo>
                  <a:cubicBezTo>
                    <a:pt x="915" y="1072"/>
                    <a:pt x="903" y="1136"/>
                    <a:pt x="885" y="1196"/>
                  </a:cubicBezTo>
                  <a:cubicBezTo>
                    <a:pt x="903" y="1197"/>
                    <a:pt x="920" y="1200"/>
                    <a:pt x="937" y="1202"/>
                  </a:cubicBezTo>
                  <a:cubicBezTo>
                    <a:pt x="941" y="1140"/>
                    <a:pt x="945" y="1077"/>
                    <a:pt x="945" y="1009"/>
                  </a:cubicBezTo>
                  <a:cubicBezTo>
                    <a:pt x="940" y="1009"/>
                    <a:pt x="934" y="1008"/>
                    <a:pt x="928" y="1007"/>
                  </a:cubicBezTo>
                  <a:close/>
                  <a:moveTo>
                    <a:pt x="951" y="1010"/>
                  </a:moveTo>
                  <a:cubicBezTo>
                    <a:pt x="947" y="1074"/>
                    <a:pt x="947" y="1142"/>
                    <a:pt x="941" y="1203"/>
                  </a:cubicBezTo>
                  <a:cubicBezTo>
                    <a:pt x="955" y="1205"/>
                    <a:pt x="968" y="1208"/>
                    <a:pt x="981" y="1211"/>
                  </a:cubicBezTo>
                  <a:cubicBezTo>
                    <a:pt x="1010" y="1153"/>
                    <a:pt x="1037" y="1093"/>
                    <a:pt x="1058" y="1026"/>
                  </a:cubicBezTo>
                  <a:cubicBezTo>
                    <a:pt x="1022" y="1020"/>
                    <a:pt x="989" y="1013"/>
                    <a:pt x="951" y="1010"/>
                  </a:cubicBezTo>
                  <a:close/>
                  <a:moveTo>
                    <a:pt x="507" y="1020"/>
                  </a:moveTo>
                  <a:cubicBezTo>
                    <a:pt x="508" y="1024"/>
                    <a:pt x="508" y="1016"/>
                    <a:pt x="507" y="1020"/>
                  </a:cubicBezTo>
                  <a:close/>
                  <a:moveTo>
                    <a:pt x="384" y="1045"/>
                  </a:moveTo>
                  <a:cubicBezTo>
                    <a:pt x="411" y="1107"/>
                    <a:pt x="441" y="1167"/>
                    <a:pt x="479" y="1218"/>
                  </a:cubicBezTo>
                  <a:cubicBezTo>
                    <a:pt x="493" y="1223"/>
                    <a:pt x="508" y="1219"/>
                    <a:pt x="522" y="1216"/>
                  </a:cubicBezTo>
                  <a:cubicBezTo>
                    <a:pt x="517" y="1173"/>
                    <a:pt x="513" y="1126"/>
                    <a:pt x="510" y="1081"/>
                  </a:cubicBezTo>
                  <a:cubicBezTo>
                    <a:pt x="509" y="1066"/>
                    <a:pt x="511" y="1049"/>
                    <a:pt x="509" y="1034"/>
                  </a:cubicBezTo>
                  <a:cubicBezTo>
                    <a:pt x="508" y="1030"/>
                    <a:pt x="506" y="1023"/>
                    <a:pt x="502" y="1020"/>
                  </a:cubicBezTo>
                  <a:cubicBezTo>
                    <a:pt x="460" y="1026"/>
                    <a:pt x="422" y="1036"/>
                    <a:pt x="384" y="1045"/>
                  </a:cubicBezTo>
                  <a:close/>
                  <a:moveTo>
                    <a:pt x="1274" y="1095"/>
                  </a:moveTo>
                  <a:cubicBezTo>
                    <a:pt x="1283" y="1099"/>
                    <a:pt x="1290" y="1105"/>
                    <a:pt x="1299" y="1109"/>
                  </a:cubicBezTo>
                  <a:cubicBezTo>
                    <a:pt x="1304" y="1081"/>
                    <a:pt x="1312" y="1050"/>
                    <a:pt x="1312" y="1021"/>
                  </a:cubicBezTo>
                  <a:cubicBezTo>
                    <a:pt x="1301" y="1047"/>
                    <a:pt x="1286" y="1070"/>
                    <a:pt x="1274" y="1095"/>
                  </a:cubicBezTo>
                  <a:close/>
                  <a:moveTo>
                    <a:pt x="508" y="1025"/>
                  </a:moveTo>
                  <a:cubicBezTo>
                    <a:pt x="507" y="1024"/>
                    <a:pt x="508" y="1025"/>
                    <a:pt x="508" y="1025"/>
                  </a:cubicBezTo>
                  <a:close/>
                  <a:moveTo>
                    <a:pt x="75" y="1026"/>
                  </a:moveTo>
                  <a:cubicBezTo>
                    <a:pt x="75" y="1026"/>
                    <a:pt x="74" y="1025"/>
                    <a:pt x="75" y="1026"/>
                  </a:cubicBezTo>
                  <a:close/>
                  <a:moveTo>
                    <a:pt x="1062" y="1027"/>
                  </a:moveTo>
                  <a:cubicBezTo>
                    <a:pt x="1038" y="1091"/>
                    <a:pt x="1014" y="1154"/>
                    <a:pt x="984" y="1211"/>
                  </a:cubicBezTo>
                  <a:cubicBezTo>
                    <a:pt x="1013" y="1223"/>
                    <a:pt x="1049" y="1219"/>
                    <a:pt x="1083" y="1213"/>
                  </a:cubicBezTo>
                  <a:cubicBezTo>
                    <a:pt x="1092" y="1199"/>
                    <a:pt x="1103" y="1185"/>
                    <a:pt x="1112" y="1170"/>
                  </a:cubicBezTo>
                  <a:cubicBezTo>
                    <a:pt x="1121" y="1156"/>
                    <a:pt x="1134" y="1140"/>
                    <a:pt x="1139" y="1124"/>
                  </a:cubicBezTo>
                  <a:cubicBezTo>
                    <a:pt x="1146" y="1101"/>
                    <a:pt x="1143" y="1075"/>
                    <a:pt x="1147" y="1047"/>
                  </a:cubicBezTo>
                  <a:cubicBezTo>
                    <a:pt x="1119" y="1040"/>
                    <a:pt x="1091" y="1033"/>
                    <a:pt x="1062" y="1027"/>
                  </a:cubicBezTo>
                  <a:close/>
                  <a:moveTo>
                    <a:pt x="526" y="1215"/>
                  </a:moveTo>
                  <a:cubicBezTo>
                    <a:pt x="539" y="1211"/>
                    <a:pt x="555" y="1208"/>
                    <a:pt x="570" y="1205"/>
                  </a:cubicBezTo>
                  <a:cubicBezTo>
                    <a:pt x="548" y="1154"/>
                    <a:pt x="529" y="1101"/>
                    <a:pt x="511" y="1046"/>
                  </a:cubicBezTo>
                  <a:cubicBezTo>
                    <a:pt x="514" y="1104"/>
                    <a:pt x="518" y="1162"/>
                    <a:pt x="526" y="1215"/>
                  </a:cubicBezTo>
                  <a:close/>
                  <a:moveTo>
                    <a:pt x="322" y="1065"/>
                  </a:moveTo>
                  <a:cubicBezTo>
                    <a:pt x="325" y="1103"/>
                    <a:pt x="332" y="1137"/>
                    <a:pt x="339" y="1171"/>
                  </a:cubicBezTo>
                  <a:cubicBezTo>
                    <a:pt x="345" y="1180"/>
                    <a:pt x="353" y="1188"/>
                    <a:pt x="359" y="1198"/>
                  </a:cubicBezTo>
                  <a:cubicBezTo>
                    <a:pt x="396" y="1205"/>
                    <a:pt x="436" y="1213"/>
                    <a:pt x="474" y="1217"/>
                  </a:cubicBezTo>
                  <a:cubicBezTo>
                    <a:pt x="441" y="1168"/>
                    <a:pt x="410" y="1113"/>
                    <a:pt x="386" y="1057"/>
                  </a:cubicBezTo>
                  <a:cubicBezTo>
                    <a:pt x="384" y="1054"/>
                    <a:pt x="384" y="1048"/>
                    <a:pt x="379" y="1047"/>
                  </a:cubicBezTo>
                  <a:cubicBezTo>
                    <a:pt x="359" y="1052"/>
                    <a:pt x="341" y="1059"/>
                    <a:pt x="322" y="1065"/>
                  </a:cubicBezTo>
                  <a:close/>
                  <a:moveTo>
                    <a:pt x="1144" y="1118"/>
                  </a:moveTo>
                  <a:cubicBezTo>
                    <a:pt x="1154" y="1097"/>
                    <a:pt x="1166" y="1078"/>
                    <a:pt x="1175" y="1055"/>
                  </a:cubicBezTo>
                  <a:cubicBezTo>
                    <a:pt x="1166" y="1054"/>
                    <a:pt x="1159" y="1050"/>
                    <a:pt x="1150" y="1049"/>
                  </a:cubicBezTo>
                  <a:cubicBezTo>
                    <a:pt x="1149" y="1072"/>
                    <a:pt x="1144" y="1097"/>
                    <a:pt x="1144" y="1118"/>
                  </a:cubicBezTo>
                  <a:close/>
                  <a:moveTo>
                    <a:pt x="87" y="1057"/>
                  </a:moveTo>
                  <a:cubicBezTo>
                    <a:pt x="94" y="1077"/>
                    <a:pt x="96" y="1100"/>
                    <a:pt x="115" y="1107"/>
                  </a:cubicBezTo>
                  <a:cubicBezTo>
                    <a:pt x="106" y="1091"/>
                    <a:pt x="96" y="1074"/>
                    <a:pt x="87" y="1057"/>
                  </a:cubicBezTo>
                  <a:moveTo>
                    <a:pt x="87" y="1057"/>
                  </a:moveTo>
                  <a:cubicBezTo>
                    <a:pt x="88" y="1053"/>
                    <a:pt x="84" y="1057"/>
                    <a:pt x="87" y="1057"/>
                  </a:cubicBezTo>
                  <a:moveTo>
                    <a:pt x="1177" y="1057"/>
                  </a:moveTo>
                  <a:cubicBezTo>
                    <a:pt x="1172" y="1069"/>
                    <a:pt x="1167" y="1081"/>
                    <a:pt x="1160" y="1093"/>
                  </a:cubicBezTo>
                  <a:cubicBezTo>
                    <a:pt x="1155" y="1103"/>
                    <a:pt x="1146" y="1113"/>
                    <a:pt x="1142" y="1125"/>
                  </a:cubicBezTo>
                  <a:cubicBezTo>
                    <a:pt x="1138" y="1137"/>
                    <a:pt x="1139" y="1152"/>
                    <a:pt x="1136" y="1165"/>
                  </a:cubicBezTo>
                  <a:cubicBezTo>
                    <a:pt x="1134" y="1178"/>
                    <a:pt x="1131" y="1190"/>
                    <a:pt x="1129" y="1204"/>
                  </a:cubicBezTo>
                  <a:cubicBezTo>
                    <a:pt x="1155" y="1201"/>
                    <a:pt x="1179" y="1194"/>
                    <a:pt x="1204" y="1189"/>
                  </a:cubicBezTo>
                  <a:cubicBezTo>
                    <a:pt x="1227" y="1159"/>
                    <a:pt x="1250" y="1129"/>
                    <a:pt x="1269" y="1095"/>
                  </a:cubicBezTo>
                  <a:cubicBezTo>
                    <a:pt x="1240" y="1080"/>
                    <a:pt x="1211" y="1066"/>
                    <a:pt x="1177" y="1057"/>
                  </a:cubicBezTo>
                  <a:close/>
                  <a:moveTo>
                    <a:pt x="64" y="1065"/>
                  </a:moveTo>
                  <a:cubicBezTo>
                    <a:pt x="88" y="1121"/>
                    <a:pt x="118" y="1171"/>
                    <a:pt x="154" y="1215"/>
                  </a:cubicBezTo>
                  <a:moveTo>
                    <a:pt x="154" y="1215"/>
                  </a:moveTo>
                  <a:cubicBezTo>
                    <a:pt x="154" y="1216"/>
                    <a:pt x="155" y="1216"/>
                    <a:pt x="155" y="1216"/>
                  </a:cubicBezTo>
                  <a:moveTo>
                    <a:pt x="155" y="1216"/>
                  </a:moveTo>
                  <a:cubicBezTo>
                    <a:pt x="155" y="1217"/>
                    <a:pt x="155" y="1218"/>
                    <a:pt x="156" y="1218"/>
                  </a:cubicBezTo>
                  <a:moveTo>
                    <a:pt x="156" y="1218"/>
                  </a:moveTo>
                  <a:cubicBezTo>
                    <a:pt x="156" y="1219"/>
                    <a:pt x="157" y="1219"/>
                    <a:pt x="157" y="1219"/>
                  </a:cubicBezTo>
                  <a:moveTo>
                    <a:pt x="157" y="1219"/>
                  </a:moveTo>
                  <a:cubicBezTo>
                    <a:pt x="158" y="1220"/>
                    <a:pt x="158" y="1219"/>
                    <a:pt x="157" y="1219"/>
                  </a:cubicBezTo>
                  <a:moveTo>
                    <a:pt x="157" y="1219"/>
                  </a:moveTo>
                  <a:cubicBezTo>
                    <a:pt x="157" y="1218"/>
                    <a:pt x="157" y="1218"/>
                    <a:pt x="156" y="1218"/>
                  </a:cubicBezTo>
                  <a:moveTo>
                    <a:pt x="156" y="1218"/>
                  </a:moveTo>
                  <a:cubicBezTo>
                    <a:pt x="156" y="1217"/>
                    <a:pt x="156" y="1216"/>
                    <a:pt x="155" y="1216"/>
                  </a:cubicBezTo>
                  <a:moveTo>
                    <a:pt x="155" y="1216"/>
                  </a:moveTo>
                  <a:cubicBezTo>
                    <a:pt x="155" y="1215"/>
                    <a:pt x="155" y="1215"/>
                    <a:pt x="154" y="1215"/>
                  </a:cubicBezTo>
                  <a:moveTo>
                    <a:pt x="154" y="1215"/>
                  </a:moveTo>
                  <a:cubicBezTo>
                    <a:pt x="134" y="1178"/>
                    <a:pt x="113" y="1142"/>
                    <a:pt x="99" y="1099"/>
                  </a:cubicBezTo>
                  <a:cubicBezTo>
                    <a:pt x="85" y="1089"/>
                    <a:pt x="75" y="1077"/>
                    <a:pt x="64" y="1065"/>
                  </a:cubicBezTo>
                  <a:moveTo>
                    <a:pt x="64" y="1065"/>
                  </a:moveTo>
                  <a:cubicBezTo>
                    <a:pt x="63" y="1064"/>
                    <a:pt x="63" y="1065"/>
                    <a:pt x="64" y="1065"/>
                  </a:cubicBezTo>
                  <a:moveTo>
                    <a:pt x="282" y="1081"/>
                  </a:moveTo>
                  <a:cubicBezTo>
                    <a:pt x="297" y="1111"/>
                    <a:pt x="315" y="1138"/>
                    <a:pt x="335" y="1164"/>
                  </a:cubicBezTo>
                  <a:cubicBezTo>
                    <a:pt x="327" y="1133"/>
                    <a:pt x="324" y="1098"/>
                    <a:pt x="318" y="1066"/>
                  </a:cubicBezTo>
                  <a:cubicBezTo>
                    <a:pt x="307" y="1072"/>
                    <a:pt x="294" y="1076"/>
                    <a:pt x="282" y="1081"/>
                  </a:cubicBezTo>
                  <a:close/>
                  <a:moveTo>
                    <a:pt x="1457" y="1068"/>
                  </a:moveTo>
                  <a:cubicBezTo>
                    <a:pt x="1458" y="1069"/>
                    <a:pt x="1457" y="1068"/>
                    <a:pt x="1457" y="1068"/>
                  </a:cubicBezTo>
                  <a:close/>
                  <a:moveTo>
                    <a:pt x="1361" y="1232"/>
                  </a:moveTo>
                  <a:cubicBezTo>
                    <a:pt x="1360" y="1233"/>
                    <a:pt x="1361" y="1233"/>
                    <a:pt x="1361" y="1232"/>
                  </a:cubicBezTo>
                  <a:moveTo>
                    <a:pt x="1361" y="1232"/>
                  </a:moveTo>
                  <a:cubicBezTo>
                    <a:pt x="1399" y="1185"/>
                    <a:pt x="1434" y="1129"/>
                    <a:pt x="1456" y="1069"/>
                  </a:cubicBezTo>
                  <a:cubicBezTo>
                    <a:pt x="1450" y="1078"/>
                    <a:pt x="1442" y="1085"/>
                    <a:pt x="1433" y="1092"/>
                  </a:cubicBezTo>
                  <a:cubicBezTo>
                    <a:pt x="1414" y="1130"/>
                    <a:pt x="1388" y="1162"/>
                    <a:pt x="1365" y="1196"/>
                  </a:cubicBezTo>
                  <a:cubicBezTo>
                    <a:pt x="1367" y="1209"/>
                    <a:pt x="1364" y="1221"/>
                    <a:pt x="1361" y="1232"/>
                  </a:cubicBezTo>
                  <a:moveTo>
                    <a:pt x="341" y="1193"/>
                  </a:moveTo>
                  <a:cubicBezTo>
                    <a:pt x="341" y="1194"/>
                    <a:pt x="342" y="1193"/>
                    <a:pt x="341" y="1193"/>
                  </a:cubicBezTo>
                  <a:moveTo>
                    <a:pt x="341" y="1193"/>
                  </a:moveTo>
                  <a:cubicBezTo>
                    <a:pt x="340" y="1185"/>
                    <a:pt x="337" y="1179"/>
                    <a:pt x="337" y="1172"/>
                  </a:cubicBezTo>
                  <a:cubicBezTo>
                    <a:pt x="315" y="1144"/>
                    <a:pt x="298" y="1113"/>
                    <a:pt x="278" y="1083"/>
                  </a:cubicBezTo>
                  <a:cubicBezTo>
                    <a:pt x="261" y="1092"/>
                    <a:pt x="240" y="1102"/>
                    <a:pt x="222" y="1114"/>
                  </a:cubicBezTo>
                  <a:cubicBezTo>
                    <a:pt x="220" y="1116"/>
                    <a:pt x="207" y="1125"/>
                    <a:pt x="207" y="1127"/>
                  </a:cubicBezTo>
                  <a:cubicBezTo>
                    <a:pt x="207" y="1129"/>
                    <a:pt x="219" y="1144"/>
                    <a:pt x="221" y="1146"/>
                  </a:cubicBezTo>
                  <a:cubicBezTo>
                    <a:pt x="226" y="1153"/>
                    <a:pt x="230" y="1157"/>
                    <a:pt x="234" y="1164"/>
                  </a:cubicBezTo>
                  <a:cubicBezTo>
                    <a:pt x="269" y="1174"/>
                    <a:pt x="303" y="1186"/>
                    <a:pt x="341" y="1193"/>
                  </a:cubicBezTo>
                  <a:moveTo>
                    <a:pt x="183" y="1096"/>
                  </a:moveTo>
                  <a:cubicBezTo>
                    <a:pt x="183" y="1095"/>
                    <a:pt x="184" y="1096"/>
                    <a:pt x="183" y="1096"/>
                  </a:cubicBezTo>
                  <a:close/>
                  <a:moveTo>
                    <a:pt x="195" y="1134"/>
                  </a:moveTo>
                  <a:cubicBezTo>
                    <a:pt x="197" y="1130"/>
                    <a:pt x="202" y="1130"/>
                    <a:pt x="203" y="1125"/>
                  </a:cubicBezTo>
                  <a:cubicBezTo>
                    <a:pt x="196" y="1116"/>
                    <a:pt x="191" y="1106"/>
                    <a:pt x="184" y="1097"/>
                  </a:cubicBezTo>
                  <a:cubicBezTo>
                    <a:pt x="187" y="1110"/>
                    <a:pt x="190" y="1123"/>
                    <a:pt x="195" y="1134"/>
                  </a:cubicBezTo>
                  <a:close/>
                  <a:moveTo>
                    <a:pt x="1271" y="1097"/>
                  </a:moveTo>
                  <a:cubicBezTo>
                    <a:pt x="1271" y="1098"/>
                    <a:pt x="1270" y="1099"/>
                    <a:pt x="1270" y="1100"/>
                  </a:cubicBezTo>
                  <a:cubicBezTo>
                    <a:pt x="1254" y="1126"/>
                    <a:pt x="1234" y="1154"/>
                    <a:pt x="1216" y="1177"/>
                  </a:cubicBezTo>
                  <a:cubicBezTo>
                    <a:pt x="1214" y="1180"/>
                    <a:pt x="1210" y="1183"/>
                    <a:pt x="1210" y="1187"/>
                  </a:cubicBezTo>
                  <a:cubicBezTo>
                    <a:pt x="1235" y="1180"/>
                    <a:pt x="1261" y="1174"/>
                    <a:pt x="1284" y="1165"/>
                  </a:cubicBezTo>
                  <a:cubicBezTo>
                    <a:pt x="1289" y="1147"/>
                    <a:pt x="1294" y="1131"/>
                    <a:pt x="1298" y="1112"/>
                  </a:cubicBezTo>
                  <a:cubicBezTo>
                    <a:pt x="1289" y="1107"/>
                    <a:pt x="1281" y="1100"/>
                    <a:pt x="1271" y="1097"/>
                  </a:cubicBezTo>
                  <a:close/>
                  <a:moveTo>
                    <a:pt x="1426" y="1099"/>
                  </a:moveTo>
                  <a:cubicBezTo>
                    <a:pt x="1417" y="1104"/>
                    <a:pt x="1408" y="1111"/>
                    <a:pt x="1399" y="1117"/>
                  </a:cubicBezTo>
                  <a:cubicBezTo>
                    <a:pt x="1394" y="1137"/>
                    <a:pt x="1385" y="1154"/>
                    <a:pt x="1377" y="1173"/>
                  </a:cubicBezTo>
                  <a:moveTo>
                    <a:pt x="1377" y="1173"/>
                  </a:moveTo>
                  <a:cubicBezTo>
                    <a:pt x="1376" y="1173"/>
                    <a:pt x="1377" y="1174"/>
                    <a:pt x="1376" y="1175"/>
                  </a:cubicBezTo>
                  <a:moveTo>
                    <a:pt x="1376" y="1175"/>
                  </a:moveTo>
                  <a:cubicBezTo>
                    <a:pt x="1375" y="1175"/>
                    <a:pt x="1376" y="1176"/>
                    <a:pt x="1376" y="1175"/>
                  </a:cubicBezTo>
                  <a:moveTo>
                    <a:pt x="1376" y="1175"/>
                  </a:moveTo>
                  <a:cubicBezTo>
                    <a:pt x="1377" y="1174"/>
                    <a:pt x="1377" y="1173"/>
                    <a:pt x="1377" y="1173"/>
                  </a:cubicBezTo>
                  <a:moveTo>
                    <a:pt x="1377" y="1173"/>
                  </a:moveTo>
                  <a:cubicBezTo>
                    <a:pt x="1396" y="1150"/>
                    <a:pt x="1412" y="1125"/>
                    <a:pt x="1426" y="1099"/>
                  </a:cubicBezTo>
                  <a:moveTo>
                    <a:pt x="1426" y="1099"/>
                  </a:moveTo>
                  <a:cubicBezTo>
                    <a:pt x="1428" y="1098"/>
                    <a:pt x="1426" y="1098"/>
                    <a:pt x="1426" y="1099"/>
                  </a:cubicBezTo>
                  <a:moveTo>
                    <a:pt x="159" y="1216"/>
                  </a:moveTo>
                  <a:cubicBezTo>
                    <a:pt x="156" y="1201"/>
                    <a:pt x="160" y="1188"/>
                    <a:pt x="164" y="1176"/>
                  </a:cubicBezTo>
                  <a:cubicBezTo>
                    <a:pt x="148" y="1157"/>
                    <a:pt x="133" y="1136"/>
                    <a:pt x="120" y="1113"/>
                  </a:cubicBezTo>
                  <a:cubicBezTo>
                    <a:pt x="113" y="1111"/>
                    <a:pt x="109" y="1105"/>
                    <a:pt x="102" y="1103"/>
                  </a:cubicBezTo>
                  <a:cubicBezTo>
                    <a:pt x="118" y="1144"/>
                    <a:pt x="137" y="1181"/>
                    <a:pt x="159" y="1216"/>
                  </a:cubicBezTo>
                  <a:close/>
                  <a:moveTo>
                    <a:pt x="1287" y="1164"/>
                  </a:moveTo>
                  <a:cubicBezTo>
                    <a:pt x="1303" y="1157"/>
                    <a:pt x="1323" y="1155"/>
                    <a:pt x="1333" y="1143"/>
                  </a:cubicBezTo>
                  <a:cubicBezTo>
                    <a:pt x="1325" y="1131"/>
                    <a:pt x="1312" y="1123"/>
                    <a:pt x="1301" y="1114"/>
                  </a:cubicBezTo>
                  <a:cubicBezTo>
                    <a:pt x="1296" y="1131"/>
                    <a:pt x="1292" y="1148"/>
                    <a:pt x="1287" y="1164"/>
                  </a:cubicBezTo>
                  <a:close/>
                  <a:moveTo>
                    <a:pt x="126" y="1118"/>
                  </a:moveTo>
                  <a:cubicBezTo>
                    <a:pt x="138" y="1138"/>
                    <a:pt x="150" y="1157"/>
                    <a:pt x="166" y="1174"/>
                  </a:cubicBezTo>
                  <a:cubicBezTo>
                    <a:pt x="169" y="1162"/>
                    <a:pt x="177" y="1155"/>
                    <a:pt x="182" y="1146"/>
                  </a:cubicBezTo>
                  <a:cubicBezTo>
                    <a:pt x="161" y="1138"/>
                    <a:pt x="144" y="1127"/>
                    <a:pt x="126" y="1118"/>
                  </a:cubicBezTo>
                  <a:moveTo>
                    <a:pt x="126" y="1118"/>
                  </a:moveTo>
                  <a:cubicBezTo>
                    <a:pt x="125" y="1116"/>
                    <a:pt x="124" y="1118"/>
                    <a:pt x="126" y="1118"/>
                  </a:cubicBezTo>
                  <a:moveTo>
                    <a:pt x="1342" y="1146"/>
                  </a:moveTo>
                  <a:cubicBezTo>
                    <a:pt x="1351" y="1159"/>
                    <a:pt x="1360" y="1173"/>
                    <a:pt x="1365" y="1190"/>
                  </a:cubicBezTo>
                  <a:cubicBezTo>
                    <a:pt x="1377" y="1168"/>
                    <a:pt x="1387" y="1145"/>
                    <a:pt x="1396" y="1120"/>
                  </a:cubicBezTo>
                  <a:cubicBezTo>
                    <a:pt x="1397" y="1120"/>
                    <a:pt x="1396" y="1119"/>
                    <a:pt x="1395" y="1119"/>
                  </a:cubicBezTo>
                  <a:cubicBezTo>
                    <a:pt x="1379" y="1129"/>
                    <a:pt x="1361" y="1138"/>
                    <a:pt x="1342" y="1146"/>
                  </a:cubicBezTo>
                  <a:close/>
                  <a:moveTo>
                    <a:pt x="204" y="1128"/>
                  </a:moveTo>
                  <a:cubicBezTo>
                    <a:pt x="202" y="1133"/>
                    <a:pt x="196" y="1134"/>
                    <a:pt x="195" y="1139"/>
                  </a:cubicBezTo>
                  <a:cubicBezTo>
                    <a:pt x="197" y="1142"/>
                    <a:pt x="198" y="1146"/>
                    <a:pt x="198" y="1151"/>
                  </a:cubicBezTo>
                  <a:cubicBezTo>
                    <a:pt x="209" y="1153"/>
                    <a:pt x="219" y="1160"/>
                    <a:pt x="229" y="1160"/>
                  </a:cubicBezTo>
                  <a:cubicBezTo>
                    <a:pt x="220" y="1151"/>
                    <a:pt x="214" y="1138"/>
                    <a:pt x="204" y="1128"/>
                  </a:cubicBezTo>
                  <a:close/>
                  <a:moveTo>
                    <a:pt x="1100" y="1194"/>
                  </a:moveTo>
                  <a:cubicBezTo>
                    <a:pt x="1095" y="1200"/>
                    <a:pt x="1088" y="1206"/>
                    <a:pt x="1088" y="1212"/>
                  </a:cubicBezTo>
                  <a:cubicBezTo>
                    <a:pt x="1101" y="1209"/>
                    <a:pt x="1114" y="1208"/>
                    <a:pt x="1126" y="1205"/>
                  </a:cubicBezTo>
                  <a:cubicBezTo>
                    <a:pt x="1129" y="1181"/>
                    <a:pt x="1137" y="1156"/>
                    <a:pt x="1137" y="1132"/>
                  </a:cubicBezTo>
                  <a:cubicBezTo>
                    <a:pt x="1126" y="1153"/>
                    <a:pt x="1113" y="1175"/>
                    <a:pt x="1100" y="1194"/>
                  </a:cubicBezTo>
                  <a:close/>
                  <a:moveTo>
                    <a:pt x="187" y="1146"/>
                  </a:moveTo>
                  <a:cubicBezTo>
                    <a:pt x="190" y="1145"/>
                    <a:pt x="194" y="1150"/>
                    <a:pt x="196" y="1148"/>
                  </a:cubicBezTo>
                  <a:cubicBezTo>
                    <a:pt x="193" y="1146"/>
                    <a:pt x="194" y="1141"/>
                    <a:pt x="192" y="1140"/>
                  </a:cubicBezTo>
                  <a:cubicBezTo>
                    <a:pt x="191" y="1142"/>
                    <a:pt x="188" y="1143"/>
                    <a:pt x="187" y="1146"/>
                  </a:cubicBezTo>
                  <a:close/>
                  <a:moveTo>
                    <a:pt x="1333" y="1147"/>
                  </a:moveTo>
                  <a:cubicBezTo>
                    <a:pt x="1335" y="1147"/>
                    <a:pt x="1336" y="1146"/>
                    <a:pt x="1337" y="1145"/>
                  </a:cubicBezTo>
                  <a:cubicBezTo>
                    <a:pt x="1335" y="1143"/>
                    <a:pt x="1334" y="1145"/>
                    <a:pt x="1333" y="1147"/>
                  </a:cubicBezTo>
                  <a:close/>
                  <a:moveTo>
                    <a:pt x="241" y="1257"/>
                  </a:moveTo>
                  <a:cubicBezTo>
                    <a:pt x="241" y="1258"/>
                    <a:pt x="242" y="1257"/>
                    <a:pt x="241" y="1257"/>
                  </a:cubicBezTo>
                  <a:moveTo>
                    <a:pt x="241" y="1257"/>
                  </a:moveTo>
                  <a:cubicBezTo>
                    <a:pt x="224" y="1224"/>
                    <a:pt x="209" y="1190"/>
                    <a:pt x="197" y="1152"/>
                  </a:cubicBezTo>
                  <a:cubicBezTo>
                    <a:pt x="194" y="1150"/>
                    <a:pt x="189" y="1150"/>
                    <a:pt x="187" y="1148"/>
                  </a:cubicBezTo>
                  <a:cubicBezTo>
                    <a:pt x="177" y="1154"/>
                    <a:pt x="173" y="1166"/>
                    <a:pt x="167" y="1175"/>
                  </a:cubicBezTo>
                  <a:cubicBezTo>
                    <a:pt x="189" y="1205"/>
                    <a:pt x="214" y="1232"/>
                    <a:pt x="241" y="1257"/>
                  </a:cubicBezTo>
                  <a:moveTo>
                    <a:pt x="1207" y="1335"/>
                  </a:moveTo>
                  <a:cubicBezTo>
                    <a:pt x="1206" y="1335"/>
                    <a:pt x="1208" y="1336"/>
                    <a:pt x="1207" y="1335"/>
                  </a:cubicBezTo>
                  <a:moveTo>
                    <a:pt x="1207" y="1335"/>
                  </a:moveTo>
                  <a:cubicBezTo>
                    <a:pt x="1267" y="1295"/>
                    <a:pt x="1319" y="1248"/>
                    <a:pt x="1362" y="1192"/>
                  </a:cubicBezTo>
                  <a:cubicBezTo>
                    <a:pt x="1357" y="1174"/>
                    <a:pt x="1350" y="1158"/>
                    <a:pt x="1337" y="1148"/>
                  </a:cubicBezTo>
                  <a:cubicBezTo>
                    <a:pt x="1322" y="1158"/>
                    <a:pt x="1312" y="1174"/>
                    <a:pt x="1300" y="1189"/>
                  </a:cubicBezTo>
                  <a:cubicBezTo>
                    <a:pt x="1294" y="1196"/>
                    <a:pt x="1288" y="1203"/>
                    <a:pt x="1281" y="1210"/>
                  </a:cubicBezTo>
                  <a:cubicBezTo>
                    <a:pt x="1275" y="1217"/>
                    <a:pt x="1267" y="1223"/>
                    <a:pt x="1263" y="1230"/>
                  </a:cubicBezTo>
                  <a:cubicBezTo>
                    <a:pt x="1258" y="1239"/>
                    <a:pt x="1255" y="1249"/>
                    <a:pt x="1251" y="1258"/>
                  </a:cubicBezTo>
                  <a:cubicBezTo>
                    <a:pt x="1237" y="1285"/>
                    <a:pt x="1225" y="1311"/>
                    <a:pt x="1207" y="1335"/>
                  </a:cubicBezTo>
                  <a:moveTo>
                    <a:pt x="1324" y="1154"/>
                  </a:moveTo>
                  <a:cubicBezTo>
                    <a:pt x="1310" y="1158"/>
                    <a:pt x="1300" y="1164"/>
                    <a:pt x="1286" y="1167"/>
                  </a:cubicBezTo>
                  <a:cubicBezTo>
                    <a:pt x="1282" y="1186"/>
                    <a:pt x="1272" y="1204"/>
                    <a:pt x="1269" y="1221"/>
                  </a:cubicBezTo>
                  <a:cubicBezTo>
                    <a:pt x="1287" y="1199"/>
                    <a:pt x="1307" y="1178"/>
                    <a:pt x="1324" y="1154"/>
                  </a:cubicBezTo>
                  <a:moveTo>
                    <a:pt x="1324" y="1154"/>
                  </a:moveTo>
                  <a:cubicBezTo>
                    <a:pt x="1325" y="1154"/>
                    <a:pt x="1324" y="1153"/>
                    <a:pt x="1324" y="1154"/>
                  </a:cubicBezTo>
                  <a:moveTo>
                    <a:pt x="222" y="1212"/>
                  </a:moveTo>
                  <a:cubicBezTo>
                    <a:pt x="231" y="1230"/>
                    <a:pt x="237" y="1251"/>
                    <a:pt x="247" y="1264"/>
                  </a:cubicBezTo>
                  <a:cubicBezTo>
                    <a:pt x="252" y="1270"/>
                    <a:pt x="260" y="1275"/>
                    <a:pt x="267" y="1280"/>
                  </a:cubicBezTo>
                  <a:cubicBezTo>
                    <a:pt x="287" y="1297"/>
                    <a:pt x="306" y="1314"/>
                    <a:pt x="328" y="1328"/>
                  </a:cubicBezTo>
                  <a:cubicBezTo>
                    <a:pt x="334" y="1313"/>
                    <a:pt x="344" y="1302"/>
                    <a:pt x="354" y="1291"/>
                  </a:cubicBezTo>
                  <a:cubicBezTo>
                    <a:pt x="308" y="1254"/>
                    <a:pt x="269" y="1211"/>
                    <a:pt x="232" y="1165"/>
                  </a:cubicBezTo>
                  <a:cubicBezTo>
                    <a:pt x="220" y="1162"/>
                    <a:pt x="212" y="1157"/>
                    <a:pt x="200" y="1154"/>
                  </a:cubicBezTo>
                  <a:cubicBezTo>
                    <a:pt x="206" y="1174"/>
                    <a:pt x="214" y="1193"/>
                    <a:pt x="222" y="1212"/>
                  </a:cubicBezTo>
                  <a:close/>
                  <a:moveTo>
                    <a:pt x="356" y="1290"/>
                  </a:moveTo>
                  <a:cubicBezTo>
                    <a:pt x="359" y="1285"/>
                    <a:pt x="365" y="1284"/>
                    <a:pt x="367" y="1278"/>
                  </a:cubicBezTo>
                  <a:cubicBezTo>
                    <a:pt x="358" y="1252"/>
                    <a:pt x="349" y="1226"/>
                    <a:pt x="342" y="1197"/>
                  </a:cubicBezTo>
                  <a:cubicBezTo>
                    <a:pt x="306" y="1189"/>
                    <a:pt x="270" y="1177"/>
                    <a:pt x="238" y="1169"/>
                  </a:cubicBezTo>
                  <a:cubicBezTo>
                    <a:pt x="274" y="1212"/>
                    <a:pt x="312" y="1254"/>
                    <a:pt x="356" y="1290"/>
                  </a:cubicBezTo>
                  <a:close/>
                  <a:moveTo>
                    <a:pt x="1223" y="1265"/>
                  </a:moveTo>
                  <a:cubicBezTo>
                    <a:pt x="1235" y="1254"/>
                    <a:pt x="1255" y="1239"/>
                    <a:pt x="1263" y="1225"/>
                  </a:cubicBezTo>
                  <a:cubicBezTo>
                    <a:pt x="1273" y="1209"/>
                    <a:pt x="1274" y="1190"/>
                    <a:pt x="1282" y="1170"/>
                  </a:cubicBezTo>
                  <a:cubicBezTo>
                    <a:pt x="1282" y="1169"/>
                    <a:pt x="1282" y="1169"/>
                    <a:pt x="1281" y="1169"/>
                  </a:cubicBezTo>
                  <a:cubicBezTo>
                    <a:pt x="1257" y="1177"/>
                    <a:pt x="1232" y="1184"/>
                    <a:pt x="1206" y="1191"/>
                  </a:cubicBezTo>
                  <a:cubicBezTo>
                    <a:pt x="1184" y="1218"/>
                    <a:pt x="1160" y="1242"/>
                    <a:pt x="1137" y="1268"/>
                  </a:cubicBezTo>
                  <a:cubicBezTo>
                    <a:pt x="1155" y="1276"/>
                    <a:pt x="1167" y="1289"/>
                    <a:pt x="1181" y="1301"/>
                  </a:cubicBezTo>
                  <a:cubicBezTo>
                    <a:pt x="1195" y="1290"/>
                    <a:pt x="1208" y="1278"/>
                    <a:pt x="1223" y="1265"/>
                  </a:cubicBezTo>
                  <a:close/>
                  <a:moveTo>
                    <a:pt x="344" y="1195"/>
                  </a:moveTo>
                  <a:cubicBezTo>
                    <a:pt x="349" y="1194"/>
                    <a:pt x="353" y="1198"/>
                    <a:pt x="355" y="1196"/>
                  </a:cubicBezTo>
                  <a:cubicBezTo>
                    <a:pt x="350" y="1190"/>
                    <a:pt x="346" y="1183"/>
                    <a:pt x="341" y="1178"/>
                  </a:cubicBezTo>
                  <a:cubicBezTo>
                    <a:pt x="342" y="1184"/>
                    <a:pt x="343" y="1189"/>
                    <a:pt x="344" y="1195"/>
                  </a:cubicBezTo>
                  <a:close/>
                  <a:moveTo>
                    <a:pt x="289" y="1331"/>
                  </a:moveTo>
                  <a:cubicBezTo>
                    <a:pt x="289" y="1332"/>
                    <a:pt x="290" y="1331"/>
                    <a:pt x="289" y="1331"/>
                  </a:cubicBezTo>
                  <a:moveTo>
                    <a:pt x="289" y="1331"/>
                  </a:moveTo>
                  <a:cubicBezTo>
                    <a:pt x="274" y="1310"/>
                    <a:pt x="258" y="1290"/>
                    <a:pt x="246" y="1266"/>
                  </a:cubicBezTo>
                  <a:cubicBezTo>
                    <a:pt x="216" y="1240"/>
                    <a:pt x="192" y="1209"/>
                    <a:pt x="165" y="1180"/>
                  </a:cubicBezTo>
                  <a:cubicBezTo>
                    <a:pt x="163" y="1194"/>
                    <a:pt x="158" y="1209"/>
                    <a:pt x="163" y="1223"/>
                  </a:cubicBezTo>
                  <a:cubicBezTo>
                    <a:pt x="169" y="1238"/>
                    <a:pt x="189" y="1257"/>
                    <a:pt x="203" y="1271"/>
                  </a:cubicBezTo>
                  <a:cubicBezTo>
                    <a:pt x="217" y="1284"/>
                    <a:pt x="236" y="1304"/>
                    <a:pt x="249" y="1313"/>
                  </a:cubicBezTo>
                  <a:cubicBezTo>
                    <a:pt x="261" y="1321"/>
                    <a:pt x="278" y="1326"/>
                    <a:pt x="289" y="1331"/>
                  </a:cubicBezTo>
                  <a:moveTo>
                    <a:pt x="676" y="1195"/>
                  </a:moveTo>
                  <a:cubicBezTo>
                    <a:pt x="677" y="1209"/>
                    <a:pt x="682" y="1221"/>
                    <a:pt x="683" y="1235"/>
                  </a:cubicBezTo>
                  <a:cubicBezTo>
                    <a:pt x="697" y="1236"/>
                    <a:pt x="712" y="1236"/>
                    <a:pt x="727" y="1236"/>
                  </a:cubicBezTo>
                  <a:cubicBezTo>
                    <a:pt x="726" y="1222"/>
                    <a:pt x="730" y="1202"/>
                    <a:pt x="725" y="1192"/>
                  </a:cubicBezTo>
                  <a:cubicBezTo>
                    <a:pt x="709" y="1193"/>
                    <a:pt x="691" y="1193"/>
                    <a:pt x="676" y="1195"/>
                  </a:cubicBezTo>
                  <a:close/>
                  <a:moveTo>
                    <a:pt x="729" y="1192"/>
                  </a:moveTo>
                  <a:cubicBezTo>
                    <a:pt x="729" y="1207"/>
                    <a:pt x="731" y="1220"/>
                    <a:pt x="730" y="1236"/>
                  </a:cubicBezTo>
                  <a:cubicBezTo>
                    <a:pt x="744" y="1238"/>
                    <a:pt x="761" y="1236"/>
                    <a:pt x="775" y="1237"/>
                  </a:cubicBezTo>
                  <a:cubicBezTo>
                    <a:pt x="777" y="1222"/>
                    <a:pt x="777" y="1207"/>
                    <a:pt x="777" y="1192"/>
                  </a:cubicBezTo>
                  <a:cubicBezTo>
                    <a:pt x="761" y="1192"/>
                    <a:pt x="745" y="1192"/>
                    <a:pt x="729" y="1192"/>
                  </a:cubicBezTo>
                  <a:close/>
                  <a:moveTo>
                    <a:pt x="780" y="1192"/>
                  </a:moveTo>
                  <a:cubicBezTo>
                    <a:pt x="779" y="1206"/>
                    <a:pt x="779" y="1222"/>
                    <a:pt x="778" y="1237"/>
                  </a:cubicBezTo>
                  <a:cubicBezTo>
                    <a:pt x="809" y="1235"/>
                    <a:pt x="841" y="1236"/>
                    <a:pt x="871" y="1234"/>
                  </a:cubicBezTo>
                  <a:cubicBezTo>
                    <a:pt x="875" y="1222"/>
                    <a:pt x="879" y="1210"/>
                    <a:pt x="882" y="1198"/>
                  </a:cubicBezTo>
                  <a:cubicBezTo>
                    <a:pt x="849" y="1195"/>
                    <a:pt x="816" y="1192"/>
                    <a:pt x="780" y="1192"/>
                  </a:cubicBezTo>
                  <a:close/>
                  <a:moveTo>
                    <a:pt x="1200" y="1193"/>
                  </a:moveTo>
                  <a:cubicBezTo>
                    <a:pt x="1176" y="1197"/>
                    <a:pt x="1153" y="1204"/>
                    <a:pt x="1128" y="1207"/>
                  </a:cubicBezTo>
                  <a:cubicBezTo>
                    <a:pt x="1124" y="1224"/>
                    <a:pt x="1120" y="1239"/>
                    <a:pt x="1116" y="1255"/>
                  </a:cubicBezTo>
                  <a:cubicBezTo>
                    <a:pt x="1122" y="1258"/>
                    <a:pt x="1128" y="1262"/>
                    <a:pt x="1134" y="1265"/>
                  </a:cubicBezTo>
                  <a:cubicBezTo>
                    <a:pt x="1158" y="1242"/>
                    <a:pt x="1180" y="1219"/>
                    <a:pt x="1200" y="1193"/>
                  </a:cubicBezTo>
                  <a:moveTo>
                    <a:pt x="1200" y="1193"/>
                  </a:moveTo>
                  <a:cubicBezTo>
                    <a:pt x="1201" y="1192"/>
                    <a:pt x="1200" y="1192"/>
                    <a:pt x="1200" y="1193"/>
                  </a:cubicBezTo>
                  <a:moveTo>
                    <a:pt x="671" y="1195"/>
                  </a:moveTo>
                  <a:cubicBezTo>
                    <a:pt x="638" y="1198"/>
                    <a:pt x="605" y="1201"/>
                    <a:pt x="575" y="1207"/>
                  </a:cubicBezTo>
                  <a:cubicBezTo>
                    <a:pt x="578" y="1215"/>
                    <a:pt x="580" y="1224"/>
                    <a:pt x="586" y="1229"/>
                  </a:cubicBezTo>
                  <a:cubicBezTo>
                    <a:pt x="616" y="1232"/>
                    <a:pt x="650" y="1235"/>
                    <a:pt x="680" y="1234"/>
                  </a:cubicBezTo>
                  <a:cubicBezTo>
                    <a:pt x="676" y="1222"/>
                    <a:pt x="675" y="1207"/>
                    <a:pt x="671" y="1195"/>
                  </a:cubicBezTo>
                  <a:close/>
                  <a:moveTo>
                    <a:pt x="369" y="1277"/>
                  </a:moveTo>
                  <a:cubicBezTo>
                    <a:pt x="382" y="1271"/>
                    <a:pt x="394" y="1263"/>
                    <a:pt x="406" y="1255"/>
                  </a:cubicBezTo>
                  <a:cubicBezTo>
                    <a:pt x="389" y="1237"/>
                    <a:pt x="373" y="1219"/>
                    <a:pt x="358" y="1199"/>
                  </a:cubicBezTo>
                  <a:cubicBezTo>
                    <a:pt x="353" y="1200"/>
                    <a:pt x="350" y="1197"/>
                    <a:pt x="345" y="1198"/>
                  </a:cubicBezTo>
                  <a:cubicBezTo>
                    <a:pt x="352" y="1226"/>
                    <a:pt x="361" y="1251"/>
                    <a:pt x="369" y="1277"/>
                  </a:cubicBezTo>
                  <a:close/>
                  <a:moveTo>
                    <a:pt x="884" y="1199"/>
                  </a:moveTo>
                  <a:cubicBezTo>
                    <a:pt x="882" y="1211"/>
                    <a:pt x="877" y="1221"/>
                    <a:pt x="874" y="1234"/>
                  </a:cubicBezTo>
                  <a:cubicBezTo>
                    <a:pt x="894" y="1233"/>
                    <a:pt x="914" y="1231"/>
                    <a:pt x="934" y="1230"/>
                  </a:cubicBezTo>
                  <a:cubicBezTo>
                    <a:pt x="934" y="1221"/>
                    <a:pt x="936" y="1215"/>
                    <a:pt x="936" y="1205"/>
                  </a:cubicBezTo>
                  <a:cubicBezTo>
                    <a:pt x="919" y="1202"/>
                    <a:pt x="903" y="1199"/>
                    <a:pt x="884" y="1199"/>
                  </a:cubicBezTo>
                  <a:close/>
                  <a:moveTo>
                    <a:pt x="1360" y="1199"/>
                  </a:moveTo>
                  <a:cubicBezTo>
                    <a:pt x="1360" y="1199"/>
                    <a:pt x="1361" y="1200"/>
                    <a:pt x="1360" y="1199"/>
                  </a:cubicBezTo>
                  <a:close/>
                  <a:moveTo>
                    <a:pt x="363" y="1201"/>
                  </a:moveTo>
                  <a:cubicBezTo>
                    <a:pt x="378" y="1220"/>
                    <a:pt x="392" y="1239"/>
                    <a:pt x="410" y="1254"/>
                  </a:cubicBezTo>
                  <a:cubicBezTo>
                    <a:pt x="432" y="1244"/>
                    <a:pt x="454" y="1234"/>
                    <a:pt x="480" y="1227"/>
                  </a:cubicBezTo>
                  <a:cubicBezTo>
                    <a:pt x="477" y="1217"/>
                    <a:pt x="463" y="1219"/>
                    <a:pt x="454" y="1218"/>
                  </a:cubicBezTo>
                  <a:cubicBezTo>
                    <a:pt x="424" y="1213"/>
                    <a:pt x="391" y="1206"/>
                    <a:pt x="363" y="1201"/>
                  </a:cubicBezTo>
                  <a:moveTo>
                    <a:pt x="363" y="1201"/>
                  </a:moveTo>
                  <a:cubicBezTo>
                    <a:pt x="362" y="1200"/>
                    <a:pt x="361" y="1201"/>
                    <a:pt x="363" y="1201"/>
                  </a:cubicBezTo>
                  <a:moveTo>
                    <a:pt x="1359" y="1201"/>
                  </a:moveTo>
                  <a:cubicBezTo>
                    <a:pt x="1318" y="1253"/>
                    <a:pt x="1263" y="1298"/>
                    <a:pt x="1208" y="1338"/>
                  </a:cubicBezTo>
                  <a:cubicBezTo>
                    <a:pt x="1206" y="1339"/>
                    <a:pt x="1201" y="1341"/>
                    <a:pt x="1202" y="1345"/>
                  </a:cubicBezTo>
                  <a:cubicBezTo>
                    <a:pt x="1217" y="1339"/>
                    <a:pt x="1232" y="1333"/>
                    <a:pt x="1247" y="1326"/>
                  </a:cubicBezTo>
                  <a:cubicBezTo>
                    <a:pt x="1261" y="1320"/>
                    <a:pt x="1277" y="1313"/>
                    <a:pt x="1289" y="1304"/>
                  </a:cubicBezTo>
                  <a:cubicBezTo>
                    <a:pt x="1303" y="1293"/>
                    <a:pt x="1316" y="1270"/>
                    <a:pt x="1326" y="1255"/>
                  </a:cubicBezTo>
                  <a:cubicBezTo>
                    <a:pt x="1338" y="1238"/>
                    <a:pt x="1350" y="1220"/>
                    <a:pt x="1359" y="1201"/>
                  </a:cubicBezTo>
                  <a:moveTo>
                    <a:pt x="1359" y="1201"/>
                  </a:moveTo>
                  <a:cubicBezTo>
                    <a:pt x="1361" y="1201"/>
                    <a:pt x="1359" y="1200"/>
                    <a:pt x="1359" y="1201"/>
                  </a:cubicBezTo>
                  <a:moveTo>
                    <a:pt x="1301" y="1295"/>
                  </a:moveTo>
                  <a:cubicBezTo>
                    <a:pt x="1299" y="1296"/>
                    <a:pt x="1301" y="1297"/>
                    <a:pt x="1301" y="1295"/>
                  </a:cubicBezTo>
                  <a:moveTo>
                    <a:pt x="1301" y="1295"/>
                  </a:moveTo>
                  <a:cubicBezTo>
                    <a:pt x="1315" y="1282"/>
                    <a:pt x="1343" y="1260"/>
                    <a:pt x="1354" y="1241"/>
                  </a:cubicBezTo>
                  <a:cubicBezTo>
                    <a:pt x="1360" y="1231"/>
                    <a:pt x="1364" y="1215"/>
                    <a:pt x="1362" y="1201"/>
                  </a:cubicBezTo>
                  <a:cubicBezTo>
                    <a:pt x="1345" y="1236"/>
                    <a:pt x="1323" y="1266"/>
                    <a:pt x="1301" y="1295"/>
                  </a:cubicBezTo>
                  <a:moveTo>
                    <a:pt x="938" y="1229"/>
                  </a:moveTo>
                  <a:cubicBezTo>
                    <a:pt x="950" y="1230"/>
                    <a:pt x="958" y="1227"/>
                    <a:pt x="970" y="1227"/>
                  </a:cubicBezTo>
                  <a:cubicBezTo>
                    <a:pt x="975" y="1224"/>
                    <a:pt x="977" y="1218"/>
                    <a:pt x="979" y="1213"/>
                  </a:cubicBezTo>
                  <a:cubicBezTo>
                    <a:pt x="967" y="1210"/>
                    <a:pt x="953" y="1208"/>
                    <a:pt x="941" y="1205"/>
                  </a:cubicBezTo>
                  <a:cubicBezTo>
                    <a:pt x="939" y="1212"/>
                    <a:pt x="940" y="1222"/>
                    <a:pt x="938" y="1229"/>
                  </a:cubicBezTo>
                  <a:close/>
                  <a:moveTo>
                    <a:pt x="526" y="1219"/>
                  </a:moveTo>
                  <a:cubicBezTo>
                    <a:pt x="526" y="1221"/>
                    <a:pt x="526" y="1222"/>
                    <a:pt x="527" y="1223"/>
                  </a:cubicBezTo>
                  <a:cubicBezTo>
                    <a:pt x="544" y="1226"/>
                    <a:pt x="565" y="1229"/>
                    <a:pt x="582" y="1228"/>
                  </a:cubicBezTo>
                  <a:cubicBezTo>
                    <a:pt x="577" y="1222"/>
                    <a:pt x="575" y="1213"/>
                    <a:pt x="571" y="1207"/>
                  </a:cubicBezTo>
                  <a:cubicBezTo>
                    <a:pt x="557" y="1212"/>
                    <a:pt x="538" y="1212"/>
                    <a:pt x="526" y="1219"/>
                  </a:cubicBezTo>
                  <a:close/>
                  <a:moveTo>
                    <a:pt x="1084" y="1215"/>
                  </a:moveTo>
                  <a:cubicBezTo>
                    <a:pt x="1080" y="1223"/>
                    <a:pt x="1071" y="1229"/>
                    <a:pt x="1070" y="1236"/>
                  </a:cubicBezTo>
                  <a:cubicBezTo>
                    <a:pt x="1086" y="1240"/>
                    <a:pt x="1099" y="1248"/>
                    <a:pt x="1113" y="1253"/>
                  </a:cubicBezTo>
                  <a:cubicBezTo>
                    <a:pt x="1118" y="1240"/>
                    <a:pt x="1120" y="1224"/>
                    <a:pt x="1125" y="1210"/>
                  </a:cubicBezTo>
                  <a:cubicBezTo>
                    <a:pt x="1125" y="1209"/>
                    <a:pt x="1125" y="1208"/>
                    <a:pt x="1123" y="1208"/>
                  </a:cubicBezTo>
                  <a:cubicBezTo>
                    <a:pt x="1111" y="1211"/>
                    <a:pt x="1097" y="1213"/>
                    <a:pt x="1084" y="1215"/>
                  </a:cubicBezTo>
                  <a:close/>
                  <a:moveTo>
                    <a:pt x="982" y="1214"/>
                  </a:moveTo>
                  <a:cubicBezTo>
                    <a:pt x="980" y="1218"/>
                    <a:pt x="977" y="1222"/>
                    <a:pt x="975" y="1226"/>
                  </a:cubicBezTo>
                  <a:cubicBezTo>
                    <a:pt x="988" y="1225"/>
                    <a:pt x="1003" y="1224"/>
                    <a:pt x="1015" y="1222"/>
                  </a:cubicBezTo>
                  <a:cubicBezTo>
                    <a:pt x="1005" y="1219"/>
                    <a:pt x="994" y="1216"/>
                    <a:pt x="982" y="1214"/>
                  </a:cubicBezTo>
                  <a:close/>
                  <a:moveTo>
                    <a:pt x="1031" y="1223"/>
                  </a:moveTo>
                  <a:cubicBezTo>
                    <a:pt x="1044" y="1226"/>
                    <a:pt x="1054" y="1231"/>
                    <a:pt x="1066" y="1234"/>
                  </a:cubicBezTo>
                  <a:cubicBezTo>
                    <a:pt x="1070" y="1229"/>
                    <a:pt x="1080" y="1220"/>
                    <a:pt x="1078" y="1216"/>
                  </a:cubicBezTo>
                  <a:cubicBezTo>
                    <a:pt x="1063" y="1219"/>
                    <a:pt x="1045" y="1220"/>
                    <a:pt x="1031" y="1223"/>
                  </a:cubicBezTo>
                  <a:close/>
                  <a:moveTo>
                    <a:pt x="509" y="1223"/>
                  </a:moveTo>
                  <a:cubicBezTo>
                    <a:pt x="515" y="1222"/>
                    <a:pt x="518" y="1224"/>
                    <a:pt x="524" y="1223"/>
                  </a:cubicBezTo>
                  <a:cubicBezTo>
                    <a:pt x="523" y="1222"/>
                    <a:pt x="524" y="1217"/>
                    <a:pt x="521" y="1218"/>
                  </a:cubicBezTo>
                  <a:cubicBezTo>
                    <a:pt x="518" y="1220"/>
                    <a:pt x="511" y="1219"/>
                    <a:pt x="509" y="1223"/>
                  </a:cubicBezTo>
                  <a:close/>
                  <a:moveTo>
                    <a:pt x="482" y="1225"/>
                  </a:moveTo>
                  <a:cubicBezTo>
                    <a:pt x="487" y="1226"/>
                    <a:pt x="490" y="1224"/>
                    <a:pt x="493" y="1223"/>
                  </a:cubicBezTo>
                  <a:cubicBezTo>
                    <a:pt x="488" y="1223"/>
                    <a:pt x="483" y="1220"/>
                    <a:pt x="480" y="1223"/>
                  </a:cubicBezTo>
                  <a:cubicBezTo>
                    <a:pt x="481" y="1223"/>
                    <a:pt x="482" y="1224"/>
                    <a:pt x="482" y="1225"/>
                  </a:cubicBezTo>
                  <a:close/>
                  <a:moveTo>
                    <a:pt x="535" y="1295"/>
                  </a:moveTo>
                  <a:cubicBezTo>
                    <a:pt x="536" y="1296"/>
                    <a:pt x="537" y="1294"/>
                    <a:pt x="535" y="1295"/>
                  </a:cubicBezTo>
                  <a:moveTo>
                    <a:pt x="535" y="1295"/>
                  </a:moveTo>
                  <a:cubicBezTo>
                    <a:pt x="532" y="1272"/>
                    <a:pt x="527" y="1251"/>
                    <a:pt x="525" y="1227"/>
                  </a:cubicBezTo>
                  <a:cubicBezTo>
                    <a:pt x="512" y="1224"/>
                    <a:pt x="497" y="1223"/>
                    <a:pt x="486" y="1227"/>
                  </a:cubicBezTo>
                  <a:cubicBezTo>
                    <a:pt x="498" y="1250"/>
                    <a:pt x="518" y="1273"/>
                    <a:pt x="535" y="1295"/>
                  </a:cubicBezTo>
                  <a:moveTo>
                    <a:pt x="1022" y="1223"/>
                  </a:moveTo>
                  <a:cubicBezTo>
                    <a:pt x="1007" y="1223"/>
                    <a:pt x="991" y="1230"/>
                    <a:pt x="973" y="1229"/>
                  </a:cubicBezTo>
                  <a:cubicBezTo>
                    <a:pt x="960" y="1255"/>
                    <a:pt x="945" y="1280"/>
                    <a:pt x="928" y="1303"/>
                  </a:cubicBezTo>
                  <a:cubicBezTo>
                    <a:pt x="927" y="1316"/>
                    <a:pt x="925" y="1329"/>
                    <a:pt x="922" y="1342"/>
                  </a:cubicBezTo>
                  <a:cubicBezTo>
                    <a:pt x="920" y="1353"/>
                    <a:pt x="915" y="1367"/>
                    <a:pt x="917" y="1376"/>
                  </a:cubicBezTo>
                  <a:cubicBezTo>
                    <a:pt x="925" y="1381"/>
                    <a:pt x="933" y="1372"/>
                    <a:pt x="939" y="1367"/>
                  </a:cubicBezTo>
                  <a:cubicBezTo>
                    <a:pt x="986" y="1330"/>
                    <a:pt x="1029" y="1283"/>
                    <a:pt x="1064" y="1236"/>
                  </a:cubicBezTo>
                  <a:cubicBezTo>
                    <a:pt x="1050" y="1234"/>
                    <a:pt x="1038" y="1224"/>
                    <a:pt x="1022" y="1223"/>
                  </a:cubicBezTo>
                  <a:close/>
                  <a:moveTo>
                    <a:pt x="539" y="1299"/>
                  </a:moveTo>
                  <a:cubicBezTo>
                    <a:pt x="563" y="1325"/>
                    <a:pt x="587" y="1352"/>
                    <a:pt x="615" y="1374"/>
                  </a:cubicBezTo>
                  <a:cubicBezTo>
                    <a:pt x="628" y="1368"/>
                    <a:pt x="645" y="1367"/>
                    <a:pt x="658" y="1362"/>
                  </a:cubicBezTo>
                  <a:cubicBezTo>
                    <a:pt x="630" y="1322"/>
                    <a:pt x="605" y="1279"/>
                    <a:pt x="583" y="1232"/>
                  </a:cubicBezTo>
                  <a:cubicBezTo>
                    <a:pt x="564" y="1230"/>
                    <a:pt x="545" y="1229"/>
                    <a:pt x="527" y="1226"/>
                  </a:cubicBezTo>
                  <a:cubicBezTo>
                    <a:pt x="530" y="1251"/>
                    <a:pt x="535" y="1275"/>
                    <a:pt x="539" y="1299"/>
                  </a:cubicBezTo>
                  <a:close/>
                  <a:moveTo>
                    <a:pt x="537" y="1300"/>
                  </a:moveTo>
                  <a:cubicBezTo>
                    <a:pt x="517" y="1278"/>
                    <a:pt x="500" y="1252"/>
                    <a:pt x="481" y="1229"/>
                  </a:cubicBezTo>
                  <a:cubicBezTo>
                    <a:pt x="456" y="1237"/>
                    <a:pt x="433" y="1246"/>
                    <a:pt x="412" y="1256"/>
                  </a:cubicBezTo>
                  <a:cubicBezTo>
                    <a:pt x="452" y="1302"/>
                    <a:pt x="504" y="1344"/>
                    <a:pt x="558" y="1379"/>
                  </a:cubicBezTo>
                  <a:cubicBezTo>
                    <a:pt x="550" y="1354"/>
                    <a:pt x="543" y="1328"/>
                    <a:pt x="537" y="1300"/>
                  </a:cubicBezTo>
                  <a:close/>
                  <a:moveTo>
                    <a:pt x="938" y="1232"/>
                  </a:moveTo>
                  <a:cubicBezTo>
                    <a:pt x="936" y="1253"/>
                    <a:pt x="931" y="1276"/>
                    <a:pt x="931" y="1295"/>
                  </a:cubicBezTo>
                  <a:cubicBezTo>
                    <a:pt x="945" y="1275"/>
                    <a:pt x="957" y="1253"/>
                    <a:pt x="970" y="1231"/>
                  </a:cubicBezTo>
                  <a:cubicBezTo>
                    <a:pt x="970" y="1230"/>
                    <a:pt x="970" y="1229"/>
                    <a:pt x="968" y="1229"/>
                  </a:cubicBezTo>
                  <a:cubicBezTo>
                    <a:pt x="959" y="1231"/>
                    <a:pt x="948" y="1232"/>
                    <a:pt x="938" y="1232"/>
                  </a:cubicBezTo>
                  <a:close/>
                  <a:moveTo>
                    <a:pt x="663" y="1362"/>
                  </a:moveTo>
                  <a:cubicBezTo>
                    <a:pt x="679" y="1359"/>
                    <a:pt x="696" y="1357"/>
                    <a:pt x="712" y="1355"/>
                  </a:cubicBezTo>
                  <a:cubicBezTo>
                    <a:pt x="700" y="1317"/>
                    <a:pt x="690" y="1278"/>
                    <a:pt x="680" y="1238"/>
                  </a:cubicBezTo>
                  <a:cubicBezTo>
                    <a:pt x="649" y="1236"/>
                    <a:pt x="616" y="1235"/>
                    <a:pt x="586" y="1232"/>
                  </a:cubicBezTo>
                  <a:cubicBezTo>
                    <a:pt x="608" y="1279"/>
                    <a:pt x="632" y="1324"/>
                    <a:pt x="663" y="1362"/>
                  </a:cubicBezTo>
                  <a:close/>
                  <a:moveTo>
                    <a:pt x="872" y="1237"/>
                  </a:moveTo>
                  <a:cubicBezTo>
                    <a:pt x="861" y="1280"/>
                    <a:pt x="845" y="1318"/>
                    <a:pt x="829" y="1357"/>
                  </a:cubicBezTo>
                  <a:cubicBezTo>
                    <a:pt x="845" y="1360"/>
                    <a:pt x="862" y="1361"/>
                    <a:pt x="876" y="1366"/>
                  </a:cubicBezTo>
                  <a:cubicBezTo>
                    <a:pt x="895" y="1349"/>
                    <a:pt x="908" y="1326"/>
                    <a:pt x="924" y="1306"/>
                  </a:cubicBezTo>
                  <a:cubicBezTo>
                    <a:pt x="927" y="1282"/>
                    <a:pt x="932" y="1259"/>
                    <a:pt x="933" y="1233"/>
                  </a:cubicBezTo>
                  <a:cubicBezTo>
                    <a:pt x="912" y="1234"/>
                    <a:pt x="892" y="1235"/>
                    <a:pt x="872" y="1237"/>
                  </a:cubicBezTo>
                  <a:close/>
                  <a:moveTo>
                    <a:pt x="1182" y="1304"/>
                  </a:moveTo>
                  <a:cubicBezTo>
                    <a:pt x="1190" y="1314"/>
                    <a:pt x="1196" y="1326"/>
                    <a:pt x="1200" y="1341"/>
                  </a:cubicBezTo>
                  <a:cubicBezTo>
                    <a:pt x="1222" y="1309"/>
                    <a:pt x="1244" y="1273"/>
                    <a:pt x="1257" y="1235"/>
                  </a:cubicBezTo>
                  <a:cubicBezTo>
                    <a:pt x="1234" y="1260"/>
                    <a:pt x="1208" y="1282"/>
                    <a:pt x="1182" y="1304"/>
                  </a:cubicBezTo>
                  <a:close/>
                  <a:moveTo>
                    <a:pt x="778" y="1239"/>
                  </a:moveTo>
                  <a:cubicBezTo>
                    <a:pt x="776" y="1277"/>
                    <a:pt x="774" y="1315"/>
                    <a:pt x="773" y="1353"/>
                  </a:cubicBezTo>
                  <a:cubicBezTo>
                    <a:pt x="791" y="1354"/>
                    <a:pt x="810" y="1355"/>
                    <a:pt x="826" y="1357"/>
                  </a:cubicBezTo>
                  <a:cubicBezTo>
                    <a:pt x="843" y="1319"/>
                    <a:pt x="857" y="1279"/>
                    <a:pt x="870" y="1237"/>
                  </a:cubicBezTo>
                  <a:cubicBezTo>
                    <a:pt x="840" y="1238"/>
                    <a:pt x="810" y="1239"/>
                    <a:pt x="778" y="1239"/>
                  </a:cubicBezTo>
                  <a:close/>
                  <a:moveTo>
                    <a:pt x="170" y="1239"/>
                  </a:moveTo>
                  <a:cubicBezTo>
                    <a:pt x="177" y="1254"/>
                    <a:pt x="187" y="1266"/>
                    <a:pt x="198" y="1276"/>
                  </a:cubicBezTo>
                  <a:moveTo>
                    <a:pt x="198" y="1276"/>
                  </a:moveTo>
                  <a:cubicBezTo>
                    <a:pt x="199" y="1278"/>
                    <a:pt x="200" y="1276"/>
                    <a:pt x="198" y="1276"/>
                  </a:cubicBezTo>
                  <a:moveTo>
                    <a:pt x="198" y="1276"/>
                  </a:moveTo>
                  <a:cubicBezTo>
                    <a:pt x="189" y="1264"/>
                    <a:pt x="180" y="1250"/>
                    <a:pt x="170" y="1239"/>
                  </a:cubicBezTo>
                  <a:moveTo>
                    <a:pt x="170" y="1239"/>
                  </a:moveTo>
                  <a:cubicBezTo>
                    <a:pt x="169" y="1237"/>
                    <a:pt x="169" y="1239"/>
                    <a:pt x="170" y="1239"/>
                  </a:cubicBezTo>
                  <a:moveTo>
                    <a:pt x="716" y="1355"/>
                  </a:moveTo>
                  <a:cubicBezTo>
                    <a:pt x="722" y="1356"/>
                    <a:pt x="725" y="1353"/>
                    <a:pt x="731" y="1354"/>
                  </a:cubicBezTo>
                  <a:cubicBezTo>
                    <a:pt x="729" y="1317"/>
                    <a:pt x="729" y="1277"/>
                    <a:pt x="727" y="1239"/>
                  </a:cubicBezTo>
                  <a:cubicBezTo>
                    <a:pt x="713" y="1240"/>
                    <a:pt x="696" y="1237"/>
                    <a:pt x="684" y="1239"/>
                  </a:cubicBezTo>
                  <a:cubicBezTo>
                    <a:pt x="694" y="1278"/>
                    <a:pt x="704" y="1318"/>
                    <a:pt x="716" y="1355"/>
                  </a:cubicBezTo>
                  <a:close/>
                  <a:moveTo>
                    <a:pt x="1067" y="1238"/>
                  </a:moveTo>
                  <a:cubicBezTo>
                    <a:pt x="1026" y="1291"/>
                    <a:pt x="978" y="1338"/>
                    <a:pt x="927" y="1381"/>
                  </a:cubicBezTo>
                  <a:cubicBezTo>
                    <a:pt x="939" y="1385"/>
                    <a:pt x="948" y="1391"/>
                    <a:pt x="959" y="1396"/>
                  </a:cubicBezTo>
                  <a:cubicBezTo>
                    <a:pt x="1010" y="1367"/>
                    <a:pt x="1058" y="1334"/>
                    <a:pt x="1101" y="1296"/>
                  </a:cubicBezTo>
                  <a:cubicBezTo>
                    <a:pt x="1104" y="1282"/>
                    <a:pt x="1110" y="1271"/>
                    <a:pt x="1112" y="1256"/>
                  </a:cubicBezTo>
                  <a:cubicBezTo>
                    <a:pt x="1098" y="1249"/>
                    <a:pt x="1084" y="1242"/>
                    <a:pt x="1067" y="1238"/>
                  </a:cubicBezTo>
                  <a:close/>
                  <a:moveTo>
                    <a:pt x="731" y="1239"/>
                  </a:moveTo>
                  <a:cubicBezTo>
                    <a:pt x="730" y="1276"/>
                    <a:pt x="733" y="1316"/>
                    <a:pt x="733" y="1354"/>
                  </a:cubicBezTo>
                  <a:cubicBezTo>
                    <a:pt x="745" y="1354"/>
                    <a:pt x="757" y="1353"/>
                    <a:pt x="770" y="1353"/>
                  </a:cubicBezTo>
                  <a:cubicBezTo>
                    <a:pt x="772" y="1316"/>
                    <a:pt x="774" y="1278"/>
                    <a:pt x="775" y="1240"/>
                  </a:cubicBezTo>
                  <a:cubicBezTo>
                    <a:pt x="761" y="1239"/>
                    <a:pt x="747" y="1238"/>
                    <a:pt x="731" y="1239"/>
                  </a:cubicBezTo>
                  <a:close/>
                  <a:moveTo>
                    <a:pt x="559" y="1383"/>
                  </a:moveTo>
                  <a:cubicBezTo>
                    <a:pt x="502" y="1348"/>
                    <a:pt x="454" y="1304"/>
                    <a:pt x="408" y="1258"/>
                  </a:cubicBezTo>
                  <a:cubicBezTo>
                    <a:pt x="395" y="1265"/>
                    <a:pt x="383" y="1272"/>
                    <a:pt x="371" y="1280"/>
                  </a:cubicBezTo>
                  <a:cubicBezTo>
                    <a:pt x="377" y="1308"/>
                    <a:pt x="393" y="1320"/>
                    <a:pt x="414" y="1334"/>
                  </a:cubicBezTo>
                  <a:cubicBezTo>
                    <a:pt x="445" y="1356"/>
                    <a:pt x="480" y="1376"/>
                    <a:pt x="511" y="1392"/>
                  </a:cubicBezTo>
                  <a:cubicBezTo>
                    <a:pt x="529" y="1393"/>
                    <a:pt x="548" y="1399"/>
                    <a:pt x="564" y="1398"/>
                  </a:cubicBezTo>
                  <a:cubicBezTo>
                    <a:pt x="563" y="1393"/>
                    <a:pt x="560" y="1389"/>
                    <a:pt x="559" y="1383"/>
                  </a:cubicBezTo>
                  <a:close/>
                  <a:moveTo>
                    <a:pt x="1106" y="1293"/>
                  </a:moveTo>
                  <a:cubicBezTo>
                    <a:pt x="1114" y="1284"/>
                    <a:pt x="1124" y="1276"/>
                    <a:pt x="1133" y="1267"/>
                  </a:cubicBezTo>
                  <a:cubicBezTo>
                    <a:pt x="1126" y="1264"/>
                    <a:pt x="1122" y="1260"/>
                    <a:pt x="1115" y="1258"/>
                  </a:cubicBezTo>
                  <a:cubicBezTo>
                    <a:pt x="1112" y="1269"/>
                    <a:pt x="1106" y="1282"/>
                    <a:pt x="1106" y="1293"/>
                  </a:cubicBezTo>
                  <a:close/>
                  <a:moveTo>
                    <a:pt x="193" y="1264"/>
                  </a:moveTo>
                  <a:cubicBezTo>
                    <a:pt x="193" y="1265"/>
                    <a:pt x="193" y="1265"/>
                    <a:pt x="194" y="1265"/>
                  </a:cubicBezTo>
                  <a:moveTo>
                    <a:pt x="194" y="1265"/>
                  </a:moveTo>
                  <a:cubicBezTo>
                    <a:pt x="194" y="1266"/>
                    <a:pt x="194" y="1266"/>
                    <a:pt x="195" y="1266"/>
                  </a:cubicBezTo>
                  <a:moveTo>
                    <a:pt x="195" y="1266"/>
                  </a:moveTo>
                  <a:cubicBezTo>
                    <a:pt x="205" y="1280"/>
                    <a:pt x="216" y="1293"/>
                    <a:pt x="232" y="1301"/>
                  </a:cubicBezTo>
                  <a:moveTo>
                    <a:pt x="232" y="1301"/>
                  </a:moveTo>
                  <a:cubicBezTo>
                    <a:pt x="232" y="1302"/>
                    <a:pt x="232" y="1302"/>
                    <a:pt x="233" y="1302"/>
                  </a:cubicBezTo>
                  <a:moveTo>
                    <a:pt x="233" y="1302"/>
                  </a:moveTo>
                  <a:cubicBezTo>
                    <a:pt x="234" y="1304"/>
                    <a:pt x="234" y="1302"/>
                    <a:pt x="233" y="1302"/>
                  </a:cubicBezTo>
                  <a:moveTo>
                    <a:pt x="233" y="1302"/>
                  </a:moveTo>
                  <a:cubicBezTo>
                    <a:pt x="233" y="1301"/>
                    <a:pt x="233" y="1301"/>
                    <a:pt x="232" y="1301"/>
                  </a:cubicBezTo>
                  <a:moveTo>
                    <a:pt x="195" y="1266"/>
                  </a:moveTo>
                  <a:cubicBezTo>
                    <a:pt x="207" y="1278"/>
                    <a:pt x="219" y="1290"/>
                    <a:pt x="232" y="1301"/>
                  </a:cubicBezTo>
                  <a:moveTo>
                    <a:pt x="195" y="1266"/>
                  </a:moveTo>
                  <a:cubicBezTo>
                    <a:pt x="195" y="1265"/>
                    <a:pt x="194" y="1265"/>
                    <a:pt x="194" y="1265"/>
                  </a:cubicBezTo>
                  <a:moveTo>
                    <a:pt x="194" y="1265"/>
                  </a:moveTo>
                  <a:cubicBezTo>
                    <a:pt x="194" y="1264"/>
                    <a:pt x="193" y="1264"/>
                    <a:pt x="193" y="1264"/>
                  </a:cubicBezTo>
                  <a:moveTo>
                    <a:pt x="193" y="1264"/>
                  </a:moveTo>
                  <a:cubicBezTo>
                    <a:pt x="192" y="1262"/>
                    <a:pt x="192" y="1264"/>
                    <a:pt x="193" y="1264"/>
                  </a:cubicBezTo>
                  <a:moveTo>
                    <a:pt x="1071" y="1373"/>
                  </a:moveTo>
                  <a:cubicBezTo>
                    <a:pt x="1070" y="1374"/>
                    <a:pt x="1071" y="1374"/>
                    <a:pt x="1071" y="1373"/>
                  </a:cubicBezTo>
                  <a:moveTo>
                    <a:pt x="1071" y="1373"/>
                  </a:moveTo>
                  <a:cubicBezTo>
                    <a:pt x="1096" y="1361"/>
                    <a:pt x="1127" y="1341"/>
                    <a:pt x="1154" y="1321"/>
                  </a:cubicBezTo>
                  <a:cubicBezTo>
                    <a:pt x="1159" y="1318"/>
                    <a:pt x="1178" y="1306"/>
                    <a:pt x="1178" y="1302"/>
                  </a:cubicBezTo>
                  <a:cubicBezTo>
                    <a:pt x="1178" y="1299"/>
                    <a:pt x="1160" y="1286"/>
                    <a:pt x="1158" y="1284"/>
                  </a:cubicBezTo>
                  <a:cubicBezTo>
                    <a:pt x="1149" y="1277"/>
                    <a:pt x="1143" y="1273"/>
                    <a:pt x="1134" y="1269"/>
                  </a:cubicBezTo>
                  <a:cubicBezTo>
                    <a:pt x="1124" y="1279"/>
                    <a:pt x="1114" y="1289"/>
                    <a:pt x="1102" y="1298"/>
                  </a:cubicBezTo>
                  <a:cubicBezTo>
                    <a:pt x="1094" y="1326"/>
                    <a:pt x="1082" y="1349"/>
                    <a:pt x="1071" y="1373"/>
                  </a:cubicBezTo>
                  <a:moveTo>
                    <a:pt x="253" y="1272"/>
                  </a:moveTo>
                  <a:cubicBezTo>
                    <a:pt x="253" y="1273"/>
                    <a:pt x="254" y="1273"/>
                    <a:pt x="254" y="1273"/>
                  </a:cubicBezTo>
                  <a:moveTo>
                    <a:pt x="254" y="1273"/>
                  </a:moveTo>
                  <a:cubicBezTo>
                    <a:pt x="266" y="1296"/>
                    <a:pt x="280" y="1316"/>
                    <a:pt x="295" y="1335"/>
                  </a:cubicBezTo>
                  <a:cubicBezTo>
                    <a:pt x="305" y="1338"/>
                    <a:pt x="314" y="1343"/>
                    <a:pt x="324" y="1345"/>
                  </a:cubicBezTo>
                  <a:cubicBezTo>
                    <a:pt x="324" y="1340"/>
                    <a:pt x="326" y="1335"/>
                    <a:pt x="327" y="1331"/>
                  </a:cubicBezTo>
                  <a:cubicBezTo>
                    <a:pt x="302" y="1313"/>
                    <a:pt x="277" y="1294"/>
                    <a:pt x="254" y="1273"/>
                  </a:cubicBezTo>
                  <a:moveTo>
                    <a:pt x="254" y="1273"/>
                  </a:moveTo>
                  <a:cubicBezTo>
                    <a:pt x="254" y="1273"/>
                    <a:pt x="254" y="1272"/>
                    <a:pt x="253" y="1272"/>
                  </a:cubicBezTo>
                  <a:moveTo>
                    <a:pt x="253" y="1272"/>
                  </a:moveTo>
                  <a:cubicBezTo>
                    <a:pt x="253" y="1271"/>
                    <a:pt x="252" y="1273"/>
                    <a:pt x="253" y="1272"/>
                  </a:cubicBezTo>
                  <a:moveTo>
                    <a:pt x="379" y="1308"/>
                  </a:moveTo>
                  <a:cubicBezTo>
                    <a:pt x="380" y="1309"/>
                    <a:pt x="380" y="1308"/>
                    <a:pt x="379" y="1308"/>
                  </a:cubicBezTo>
                  <a:moveTo>
                    <a:pt x="379" y="1308"/>
                  </a:moveTo>
                  <a:cubicBezTo>
                    <a:pt x="376" y="1299"/>
                    <a:pt x="372" y="1290"/>
                    <a:pt x="368" y="1282"/>
                  </a:cubicBezTo>
                  <a:cubicBezTo>
                    <a:pt x="365" y="1285"/>
                    <a:pt x="361" y="1288"/>
                    <a:pt x="358" y="1292"/>
                  </a:cubicBezTo>
                  <a:cubicBezTo>
                    <a:pt x="365" y="1297"/>
                    <a:pt x="371" y="1303"/>
                    <a:pt x="379" y="1308"/>
                  </a:cubicBezTo>
                  <a:moveTo>
                    <a:pt x="383" y="1315"/>
                  </a:moveTo>
                  <a:cubicBezTo>
                    <a:pt x="373" y="1308"/>
                    <a:pt x="366" y="1299"/>
                    <a:pt x="355" y="1294"/>
                  </a:cubicBezTo>
                  <a:cubicBezTo>
                    <a:pt x="345" y="1304"/>
                    <a:pt x="335" y="1315"/>
                    <a:pt x="330" y="1330"/>
                  </a:cubicBezTo>
                  <a:cubicBezTo>
                    <a:pt x="356" y="1345"/>
                    <a:pt x="378" y="1368"/>
                    <a:pt x="413" y="1371"/>
                  </a:cubicBezTo>
                  <a:cubicBezTo>
                    <a:pt x="401" y="1354"/>
                    <a:pt x="391" y="1335"/>
                    <a:pt x="383" y="1315"/>
                  </a:cubicBezTo>
                  <a:close/>
                  <a:moveTo>
                    <a:pt x="929" y="1297"/>
                  </a:moveTo>
                  <a:cubicBezTo>
                    <a:pt x="929" y="1297"/>
                    <a:pt x="930" y="1298"/>
                    <a:pt x="929" y="1297"/>
                  </a:cubicBezTo>
                  <a:close/>
                  <a:moveTo>
                    <a:pt x="224" y="1300"/>
                  </a:moveTo>
                  <a:cubicBezTo>
                    <a:pt x="224" y="1301"/>
                    <a:pt x="225" y="1301"/>
                    <a:pt x="225" y="1301"/>
                  </a:cubicBezTo>
                  <a:moveTo>
                    <a:pt x="225" y="1301"/>
                  </a:moveTo>
                  <a:cubicBezTo>
                    <a:pt x="259" y="1340"/>
                    <a:pt x="299" y="1371"/>
                    <a:pt x="343" y="1399"/>
                  </a:cubicBezTo>
                  <a:cubicBezTo>
                    <a:pt x="340" y="1392"/>
                    <a:pt x="333" y="1387"/>
                    <a:pt x="331" y="1378"/>
                  </a:cubicBezTo>
                  <a:cubicBezTo>
                    <a:pt x="326" y="1374"/>
                    <a:pt x="321" y="1369"/>
                    <a:pt x="317" y="1364"/>
                  </a:cubicBezTo>
                  <a:cubicBezTo>
                    <a:pt x="283" y="1346"/>
                    <a:pt x="259" y="1319"/>
                    <a:pt x="225" y="1301"/>
                  </a:cubicBezTo>
                  <a:moveTo>
                    <a:pt x="225" y="1301"/>
                  </a:moveTo>
                  <a:cubicBezTo>
                    <a:pt x="226" y="1300"/>
                    <a:pt x="225" y="1300"/>
                    <a:pt x="224" y="1300"/>
                  </a:cubicBezTo>
                  <a:moveTo>
                    <a:pt x="224" y="1300"/>
                  </a:moveTo>
                  <a:cubicBezTo>
                    <a:pt x="224" y="1299"/>
                    <a:pt x="223" y="1300"/>
                    <a:pt x="224" y="1300"/>
                  </a:cubicBezTo>
                  <a:moveTo>
                    <a:pt x="961" y="1398"/>
                  </a:moveTo>
                  <a:cubicBezTo>
                    <a:pt x="996" y="1395"/>
                    <a:pt x="1039" y="1392"/>
                    <a:pt x="1066" y="1377"/>
                  </a:cubicBezTo>
                  <a:cubicBezTo>
                    <a:pt x="1077" y="1353"/>
                    <a:pt x="1091" y="1328"/>
                    <a:pt x="1097" y="1302"/>
                  </a:cubicBezTo>
                  <a:cubicBezTo>
                    <a:pt x="1057" y="1339"/>
                    <a:pt x="1010" y="1370"/>
                    <a:pt x="961" y="1398"/>
                  </a:cubicBezTo>
                  <a:close/>
                  <a:moveTo>
                    <a:pt x="1294" y="1304"/>
                  </a:moveTo>
                  <a:cubicBezTo>
                    <a:pt x="1293" y="1304"/>
                    <a:pt x="1294" y="1305"/>
                    <a:pt x="1294" y="1304"/>
                  </a:cubicBezTo>
                  <a:close/>
                  <a:moveTo>
                    <a:pt x="1292" y="1305"/>
                  </a:moveTo>
                  <a:cubicBezTo>
                    <a:pt x="1292" y="1305"/>
                    <a:pt x="1293" y="1306"/>
                    <a:pt x="1292" y="1305"/>
                  </a:cubicBezTo>
                  <a:close/>
                  <a:moveTo>
                    <a:pt x="561" y="1382"/>
                  </a:moveTo>
                  <a:cubicBezTo>
                    <a:pt x="567" y="1384"/>
                    <a:pt x="571" y="1388"/>
                    <a:pt x="577" y="1391"/>
                  </a:cubicBezTo>
                  <a:cubicBezTo>
                    <a:pt x="587" y="1385"/>
                    <a:pt x="597" y="1379"/>
                    <a:pt x="610" y="1376"/>
                  </a:cubicBezTo>
                  <a:cubicBezTo>
                    <a:pt x="587" y="1352"/>
                    <a:pt x="562" y="1331"/>
                    <a:pt x="541" y="1305"/>
                  </a:cubicBezTo>
                  <a:cubicBezTo>
                    <a:pt x="546" y="1332"/>
                    <a:pt x="554" y="1357"/>
                    <a:pt x="561" y="1382"/>
                  </a:cubicBezTo>
                  <a:close/>
                  <a:moveTo>
                    <a:pt x="1179" y="1305"/>
                  </a:moveTo>
                  <a:cubicBezTo>
                    <a:pt x="1162" y="1320"/>
                    <a:pt x="1142" y="1333"/>
                    <a:pt x="1122" y="1345"/>
                  </a:cubicBezTo>
                  <a:cubicBezTo>
                    <a:pt x="1103" y="1357"/>
                    <a:pt x="1083" y="1369"/>
                    <a:pt x="1066" y="1382"/>
                  </a:cubicBezTo>
                  <a:cubicBezTo>
                    <a:pt x="1112" y="1371"/>
                    <a:pt x="1168" y="1364"/>
                    <a:pt x="1197" y="1341"/>
                  </a:cubicBezTo>
                  <a:cubicBezTo>
                    <a:pt x="1194" y="1326"/>
                    <a:pt x="1188" y="1314"/>
                    <a:pt x="1179" y="1305"/>
                  </a:cubicBezTo>
                  <a:close/>
                  <a:moveTo>
                    <a:pt x="1283" y="1311"/>
                  </a:moveTo>
                  <a:cubicBezTo>
                    <a:pt x="1257" y="1325"/>
                    <a:pt x="1230" y="1338"/>
                    <a:pt x="1200" y="1348"/>
                  </a:cubicBezTo>
                  <a:cubicBezTo>
                    <a:pt x="1201" y="1361"/>
                    <a:pt x="1197" y="1369"/>
                    <a:pt x="1194" y="1378"/>
                  </a:cubicBezTo>
                  <a:moveTo>
                    <a:pt x="1194" y="1378"/>
                  </a:moveTo>
                  <a:cubicBezTo>
                    <a:pt x="1193" y="1379"/>
                    <a:pt x="1194" y="1379"/>
                    <a:pt x="1194" y="1378"/>
                  </a:cubicBezTo>
                  <a:moveTo>
                    <a:pt x="1194" y="1378"/>
                  </a:moveTo>
                  <a:cubicBezTo>
                    <a:pt x="1227" y="1358"/>
                    <a:pt x="1258" y="1338"/>
                    <a:pt x="1283" y="1311"/>
                  </a:cubicBezTo>
                  <a:moveTo>
                    <a:pt x="1283" y="1311"/>
                  </a:moveTo>
                  <a:cubicBezTo>
                    <a:pt x="1285" y="1310"/>
                    <a:pt x="1283" y="1310"/>
                    <a:pt x="1283" y="1311"/>
                  </a:cubicBezTo>
                  <a:moveTo>
                    <a:pt x="881" y="1367"/>
                  </a:moveTo>
                  <a:cubicBezTo>
                    <a:pt x="892" y="1368"/>
                    <a:pt x="901" y="1372"/>
                    <a:pt x="911" y="1374"/>
                  </a:cubicBezTo>
                  <a:cubicBezTo>
                    <a:pt x="916" y="1355"/>
                    <a:pt x="921" y="1331"/>
                    <a:pt x="922" y="1312"/>
                  </a:cubicBezTo>
                  <a:cubicBezTo>
                    <a:pt x="910" y="1331"/>
                    <a:pt x="895" y="1349"/>
                    <a:pt x="881" y="1367"/>
                  </a:cubicBezTo>
                  <a:close/>
                  <a:moveTo>
                    <a:pt x="388" y="1319"/>
                  </a:moveTo>
                  <a:cubicBezTo>
                    <a:pt x="395" y="1338"/>
                    <a:pt x="406" y="1356"/>
                    <a:pt x="416" y="1373"/>
                  </a:cubicBezTo>
                  <a:cubicBezTo>
                    <a:pt x="444" y="1379"/>
                    <a:pt x="470" y="1386"/>
                    <a:pt x="500" y="1390"/>
                  </a:cubicBezTo>
                  <a:moveTo>
                    <a:pt x="500" y="1390"/>
                  </a:moveTo>
                  <a:cubicBezTo>
                    <a:pt x="500" y="1392"/>
                    <a:pt x="504" y="1389"/>
                    <a:pt x="500" y="1390"/>
                  </a:cubicBezTo>
                  <a:moveTo>
                    <a:pt x="388" y="1319"/>
                  </a:moveTo>
                  <a:cubicBezTo>
                    <a:pt x="423" y="1344"/>
                    <a:pt x="460" y="1368"/>
                    <a:pt x="500" y="1390"/>
                  </a:cubicBezTo>
                  <a:moveTo>
                    <a:pt x="388" y="1319"/>
                  </a:moveTo>
                  <a:cubicBezTo>
                    <a:pt x="387" y="1317"/>
                    <a:pt x="386" y="1319"/>
                    <a:pt x="388" y="1319"/>
                  </a:cubicBezTo>
                  <a:moveTo>
                    <a:pt x="261" y="1322"/>
                  </a:moveTo>
                  <a:cubicBezTo>
                    <a:pt x="260" y="1322"/>
                    <a:pt x="262" y="1323"/>
                    <a:pt x="261" y="1322"/>
                  </a:cubicBezTo>
                  <a:close/>
                  <a:moveTo>
                    <a:pt x="264" y="1323"/>
                  </a:moveTo>
                  <a:cubicBezTo>
                    <a:pt x="264" y="1324"/>
                    <a:pt x="264" y="1324"/>
                    <a:pt x="264" y="1324"/>
                  </a:cubicBezTo>
                  <a:cubicBezTo>
                    <a:pt x="279" y="1334"/>
                    <a:pt x="292" y="1346"/>
                    <a:pt x="308" y="1355"/>
                  </a:cubicBezTo>
                  <a:moveTo>
                    <a:pt x="308" y="1355"/>
                  </a:moveTo>
                  <a:cubicBezTo>
                    <a:pt x="308" y="1356"/>
                    <a:pt x="308" y="1356"/>
                    <a:pt x="309" y="1356"/>
                  </a:cubicBezTo>
                  <a:moveTo>
                    <a:pt x="309" y="1356"/>
                  </a:moveTo>
                  <a:cubicBezTo>
                    <a:pt x="309" y="1357"/>
                    <a:pt x="310" y="1356"/>
                    <a:pt x="309" y="1356"/>
                  </a:cubicBezTo>
                  <a:moveTo>
                    <a:pt x="309" y="1356"/>
                  </a:moveTo>
                  <a:cubicBezTo>
                    <a:pt x="309" y="1355"/>
                    <a:pt x="309" y="1355"/>
                    <a:pt x="308" y="1355"/>
                  </a:cubicBezTo>
                  <a:moveTo>
                    <a:pt x="308" y="1355"/>
                  </a:moveTo>
                  <a:cubicBezTo>
                    <a:pt x="299" y="1338"/>
                    <a:pt x="282" y="1330"/>
                    <a:pt x="264" y="1323"/>
                  </a:cubicBezTo>
                  <a:moveTo>
                    <a:pt x="264" y="1323"/>
                  </a:moveTo>
                  <a:cubicBezTo>
                    <a:pt x="263" y="1322"/>
                    <a:pt x="263" y="1323"/>
                    <a:pt x="264" y="1323"/>
                  </a:cubicBezTo>
                  <a:moveTo>
                    <a:pt x="327" y="1347"/>
                  </a:moveTo>
                  <a:cubicBezTo>
                    <a:pt x="343" y="1351"/>
                    <a:pt x="359" y="1360"/>
                    <a:pt x="374" y="1361"/>
                  </a:cubicBezTo>
                  <a:cubicBezTo>
                    <a:pt x="358" y="1353"/>
                    <a:pt x="345" y="1342"/>
                    <a:pt x="329" y="1333"/>
                  </a:cubicBezTo>
                  <a:cubicBezTo>
                    <a:pt x="328" y="1337"/>
                    <a:pt x="327" y="1341"/>
                    <a:pt x="327" y="1347"/>
                  </a:cubicBezTo>
                  <a:close/>
                  <a:moveTo>
                    <a:pt x="299" y="1340"/>
                  </a:moveTo>
                  <a:cubicBezTo>
                    <a:pt x="308" y="1349"/>
                    <a:pt x="314" y="1361"/>
                    <a:pt x="326" y="1367"/>
                  </a:cubicBezTo>
                  <a:cubicBezTo>
                    <a:pt x="325" y="1362"/>
                    <a:pt x="324" y="1356"/>
                    <a:pt x="324" y="1348"/>
                  </a:cubicBezTo>
                  <a:cubicBezTo>
                    <a:pt x="315" y="1346"/>
                    <a:pt x="309" y="1342"/>
                    <a:pt x="299" y="1340"/>
                  </a:cubicBezTo>
                  <a:moveTo>
                    <a:pt x="299" y="1340"/>
                  </a:moveTo>
                  <a:cubicBezTo>
                    <a:pt x="299" y="1338"/>
                    <a:pt x="298" y="1340"/>
                    <a:pt x="299" y="1340"/>
                  </a:cubicBezTo>
                  <a:moveTo>
                    <a:pt x="1254" y="1341"/>
                  </a:moveTo>
                  <a:cubicBezTo>
                    <a:pt x="1254" y="1340"/>
                    <a:pt x="1254" y="1341"/>
                    <a:pt x="1254" y="1342"/>
                  </a:cubicBezTo>
                  <a:moveTo>
                    <a:pt x="1254" y="1342"/>
                  </a:moveTo>
                  <a:cubicBezTo>
                    <a:pt x="1253" y="1341"/>
                    <a:pt x="1253" y="1342"/>
                    <a:pt x="1253" y="1343"/>
                  </a:cubicBezTo>
                  <a:moveTo>
                    <a:pt x="1253" y="1343"/>
                  </a:moveTo>
                  <a:cubicBezTo>
                    <a:pt x="1252" y="1342"/>
                    <a:pt x="1252" y="1343"/>
                    <a:pt x="1252" y="1343"/>
                  </a:cubicBezTo>
                  <a:moveTo>
                    <a:pt x="1252" y="1343"/>
                  </a:moveTo>
                  <a:cubicBezTo>
                    <a:pt x="1231" y="1356"/>
                    <a:pt x="1213" y="1372"/>
                    <a:pt x="1191" y="1383"/>
                  </a:cubicBezTo>
                  <a:cubicBezTo>
                    <a:pt x="1188" y="1390"/>
                    <a:pt x="1182" y="1395"/>
                    <a:pt x="1178" y="1402"/>
                  </a:cubicBezTo>
                  <a:moveTo>
                    <a:pt x="1178" y="1402"/>
                  </a:moveTo>
                  <a:cubicBezTo>
                    <a:pt x="1177" y="1402"/>
                    <a:pt x="1177" y="1402"/>
                    <a:pt x="1177" y="1403"/>
                  </a:cubicBezTo>
                  <a:moveTo>
                    <a:pt x="1177" y="1403"/>
                  </a:moveTo>
                  <a:cubicBezTo>
                    <a:pt x="1175" y="1404"/>
                    <a:pt x="1177" y="1404"/>
                    <a:pt x="1177" y="1403"/>
                  </a:cubicBezTo>
                  <a:moveTo>
                    <a:pt x="1177" y="1403"/>
                  </a:moveTo>
                  <a:cubicBezTo>
                    <a:pt x="1178" y="1403"/>
                    <a:pt x="1178" y="1403"/>
                    <a:pt x="1178" y="1402"/>
                  </a:cubicBezTo>
                  <a:moveTo>
                    <a:pt x="1178" y="1402"/>
                  </a:moveTo>
                  <a:cubicBezTo>
                    <a:pt x="1205" y="1385"/>
                    <a:pt x="1229" y="1365"/>
                    <a:pt x="1252" y="1343"/>
                  </a:cubicBezTo>
                  <a:moveTo>
                    <a:pt x="1252" y="1343"/>
                  </a:moveTo>
                  <a:cubicBezTo>
                    <a:pt x="1252" y="1344"/>
                    <a:pt x="1253" y="1343"/>
                    <a:pt x="1253" y="1343"/>
                  </a:cubicBezTo>
                  <a:moveTo>
                    <a:pt x="1253" y="1343"/>
                  </a:moveTo>
                  <a:cubicBezTo>
                    <a:pt x="1253" y="1343"/>
                    <a:pt x="1253" y="1342"/>
                    <a:pt x="1254" y="1342"/>
                  </a:cubicBezTo>
                  <a:moveTo>
                    <a:pt x="1254" y="1342"/>
                  </a:moveTo>
                  <a:cubicBezTo>
                    <a:pt x="1254" y="1342"/>
                    <a:pt x="1254" y="1341"/>
                    <a:pt x="1254" y="1341"/>
                  </a:cubicBezTo>
                  <a:moveTo>
                    <a:pt x="1254" y="1341"/>
                  </a:moveTo>
                  <a:cubicBezTo>
                    <a:pt x="1256" y="1340"/>
                    <a:pt x="1254" y="1339"/>
                    <a:pt x="1254" y="1341"/>
                  </a:cubicBezTo>
                  <a:moveTo>
                    <a:pt x="1193" y="1348"/>
                  </a:moveTo>
                  <a:cubicBezTo>
                    <a:pt x="1193" y="1348"/>
                    <a:pt x="1194" y="1349"/>
                    <a:pt x="1193" y="1348"/>
                  </a:cubicBezTo>
                  <a:close/>
                  <a:moveTo>
                    <a:pt x="330" y="1369"/>
                  </a:moveTo>
                  <a:cubicBezTo>
                    <a:pt x="368" y="1393"/>
                    <a:pt x="409" y="1413"/>
                    <a:pt x="454" y="1429"/>
                  </a:cubicBezTo>
                  <a:cubicBezTo>
                    <a:pt x="444" y="1415"/>
                    <a:pt x="432" y="1403"/>
                    <a:pt x="423" y="1388"/>
                  </a:cubicBezTo>
                  <a:cubicBezTo>
                    <a:pt x="395" y="1370"/>
                    <a:pt x="360" y="1360"/>
                    <a:pt x="326" y="1349"/>
                  </a:cubicBezTo>
                  <a:cubicBezTo>
                    <a:pt x="327" y="1357"/>
                    <a:pt x="327" y="1364"/>
                    <a:pt x="330" y="1369"/>
                  </a:cubicBezTo>
                  <a:close/>
                  <a:moveTo>
                    <a:pt x="1151" y="1402"/>
                  </a:moveTo>
                  <a:cubicBezTo>
                    <a:pt x="1149" y="1403"/>
                    <a:pt x="1151" y="1403"/>
                    <a:pt x="1151" y="1402"/>
                  </a:cubicBezTo>
                  <a:moveTo>
                    <a:pt x="1151" y="1402"/>
                  </a:moveTo>
                  <a:cubicBezTo>
                    <a:pt x="1165" y="1397"/>
                    <a:pt x="1176" y="1388"/>
                    <a:pt x="1189" y="1382"/>
                  </a:cubicBezTo>
                  <a:cubicBezTo>
                    <a:pt x="1193" y="1373"/>
                    <a:pt x="1197" y="1363"/>
                    <a:pt x="1198" y="1350"/>
                  </a:cubicBezTo>
                  <a:cubicBezTo>
                    <a:pt x="1183" y="1365"/>
                    <a:pt x="1168" y="1386"/>
                    <a:pt x="1151" y="1402"/>
                  </a:cubicBezTo>
                  <a:moveTo>
                    <a:pt x="1191" y="1352"/>
                  </a:moveTo>
                  <a:cubicBezTo>
                    <a:pt x="1142" y="1377"/>
                    <a:pt x="1096" y="1406"/>
                    <a:pt x="1039" y="1424"/>
                  </a:cubicBezTo>
                  <a:cubicBezTo>
                    <a:pt x="1033" y="1434"/>
                    <a:pt x="1025" y="1443"/>
                    <a:pt x="1017" y="1452"/>
                  </a:cubicBezTo>
                  <a:moveTo>
                    <a:pt x="1017" y="1452"/>
                  </a:moveTo>
                  <a:cubicBezTo>
                    <a:pt x="1016" y="1453"/>
                    <a:pt x="1017" y="1453"/>
                    <a:pt x="1017" y="1452"/>
                  </a:cubicBezTo>
                  <a:moveTo>
                    <a:pt x="1017" y="1452"/>
                  </a:moveTo>
                  <a:cubicBezTo>
                    <a:pt x="1063" y="1442"/>
                    <a:pt x="1102" y="1425"/>
                    <a:pt x="1141" y="1408"/>
                  </a:cubicBezTo>
                  <a:cubicBezTo>
                    <a:pt x="1159" y="1390"/>
                    <a:pt x="1176" y="1372"/>
                    <a:pt x="1191" y="1352"/>
                  </a:cubicBezTo>
                  <a:moveTo>
                    <a:pt x="1191" y="1352"/>
                  </a:moveTo>
                  <a:cubicBezTo>
                    <a:pt x="1193" y="1352"/>
                    <a:pt x="1191" y="1351"/>
                    <a:pt x="1191" y="1352"/>
                  </a:cubicBezTo>
                  <a:moveTo>
                    <a:pt x="735" y="1356"/>
                  </a:moveTo>
                  <a:cubicBezTo>
                    <a:pt x="733" y="1373"/>
                    <a:pt x="736" y="1393"/>
                    <a:pt x="736" y="1411"/>
                  </a:cubicBezTo>
                  <a:cubicBezTo>
                    <a:pt x="746" y="1411"/>
                    <a:pt x="756" y="1411"/>
                    <a:pt x="766" y="1411"/>
                  </a:cubicBezTo>
                  <a:cubicBezTo>
                    <a:pt x="768" y="1393"/>
                    <a:pt x="768" y="1374"/>
                    <a:pt x="770" y="1356"/>
                  </a:cubicBezTo>
                  <a:cubicBezTo>
                    <a:pt x="758" y="1356"/>
                    <a:pt x="747" y="1356"/>
                    <a:pt x="735" y="1356"/>
                  </a:cubicBezTo>
                  <a:close/>
                  <a:moveTo>
                    <a:pt x="773" y="1356"/>
                  </a:moveTo>
                  <a:cubicBezTo>
                    <a:pt x="771" y="1374"/>
                    <a:pt x="770" y="1392"/>
                    <a:pt x="769" y="1411"/>
                  </a:cubicBezTo>
                  <a:cubicBezTo>
                    <a:pt x="779" y="1411"/>
                    <a:pt x="789" y="1411"/>
                    <a:pt x="799" y="1411"/>
                  </a:cubicBezTo>
                  <a:cubicBezTo>
                    <a:pt x="809" y="1394"/>
                    <a:pt x="817" y="1376"/>
                    <a:pt x="825" y="1359"/>
                  </a:cubicBezTo>
                  <a:cubicBezTo>
                    <a:pt x="807" y="1358"/>
                    <a:pt x="791" y="1356"/>
                    <a:pt x="773" y="1356"/>
                  </a:cubicBezTo>
                  <a:close/>
                  <a:moveTo>
                    <a:pt x="718" y="1358"/>
                  </a:moveTo>
                  <a:cubicBezTo>
                    <a:pt x="721" y="1371"/>
                    <a:pt x="728" y="1389"/>
                    <a:pt x="733" y="1403"/>
                  </a:cubicBezTo>
                  <a:cubicBezTo>
                    <a:pt x="732" y="1388"/>
                    <a:pt x="731" y="1373"/>
                    <a:pt x="731" y="1357"/>
                  </a:cubicBezTo>
                  <a:cubicBezTo>
                    <a:pt x="727" y="1357"/>
                    <a:pt x="721" y="1356"/>
                    <a:pt x="718" y="1358"/>
                  </a:cubicBezTo>
                  <a:close/>
                  <a:moveTo>
                    <a:pt x="664" y="1365"/>
                  </a:moveTo>
                  <a:cubicBezTo>
                    <a:pt x="673" y="1379"/>
                    <a:pt x="687" y="1397"/>
                    <a:pt x="701" y="1410"/>
                  </a:cubicBezTo>
                  <a:cubicBezTo>
                    <a:pt x="712" y="1408"/>
                    <a:pt x="723" y="1413"/>
                    <a:pt x="732" y="1410"/>
                  </a:cubicBezTo>
                  <a:cubicBezTo>
                    <a:pt x="724" y="1394"/>
                    <a:pt x="719" y="1376"/>
                    <a:pt x="713" y="1358"/>
                  </a:cubicBezTo>
                  <a:cubicBezTo>
                    <a:pt x="696" y="1359"/>
                    <a:pt x="679" y="1361"/>
                    <a:pt x="664" y="1365"/>
                  </a:cubicBezTo>
                  <a:close/>
                  <a:moveTo>
                    <a:pt x="1171" y="1359"/>
                  </a:moveTo>
                  <a:cubicBezTo>
                    <a:pt x="1137" y="1369"/>
                    <a:pt x="1101" y="1378"/>
                    <a:pt x="1064" y="1386"/>
                  </a:cubicBezTo>
                  <a:cubicBezTo>
                    <a:pt x="1058" y="1397"/>
                    <a:pt x="1050" y="1409"/>
                    <a:pt x="1043" y="1420"/>
                  </a:cubicBezTo>
                  <a:cubicBezTo>
                    <a:pt x="1090" y="1404"/>
                    <a:pt x="1132" y="1383"/>
                    <a:pt x="1171" y="1359"/>
                  </a:cubicBezTo>
                  <a:moveTo>
                    <a:pt x="1171" y="1359"/>
                  </a:moveTo>
                  <a:cubicBezTo>
                    <a:pt x="1172" y="1358"/>
                    <a:pt x="1171" y="1358"/>
                    <a:pt x="1171" y="1359"/>
                  </a:cubicBezTo>
                  <a:moveTo>
                    <a:pt x="827" y="1360"/>
                  </a:moveTo>
                  <a:cubicBezTo>
                    <a:pt x="820" y="1378"/>
                    <a:pt x="811" y="1394"/>
                    <a:pt x="802" y="1411"/>
                  </a:cubicBezTo>
                  <a:cubicBezTo>
                    <a:pt x="813" y="1409"/>
                    <a:pt x="828" y="1411"/>
                    <a:pt x="838" y="1409"/>
                  </a:cubicBezTo>
                  <a:cubicBezTo>
                    <a:pt x="847" y="1399"/>
                    <a:pt x="859" y="1388"/>
                    <a:pt x="868" y="1378"/>
                  </a:cubicBezTo>
                  <a:cubicBezTo>
                    <a:pt x="871" y="1375"/>
                    <a:pt x="875" y="1371"/>
                    <a:pt x="874" y="1367"/>
                  </a:cubicBezTo>
                  <a:cubicBezTo>
                    <a:pt x="860" y="1364"/>
                    <a:pt x="844" y="1361"/>
                    <a:pt x="827" y="1360"/>
                  </a:cubicBezTo>
                  <a:close/>
                  <a:moveTo>
                    <a:pt x="375" y="1363"/>
                  </a:moveTo>
                  <a:cubicBezTo>
                    <a:pt x="375" y="1362"/>
                    <a:pt x="376" y="1363"/>
                    <a:pt x="375" y="1363"/>
                  </a:cubicBezTo>
                  <a:close/>
                  <a:moveTo>
                    <a:pt x="618" y="1375"/>
                  </a:moveTo>
                  <a:cubicBezTo>
                    <a:pt x="621" y="1381"/>
                    <a:pt x="628" y="1387"/>
                    <a:pt x="635" y="1392"/>
                  </a:cubicBezTo>
                  <a:cubicBezTo>
                    <a:pt x="641" y="1397"/>
                    <a:pt x="650" y="1406"/>
                    <a:pt x="657" y="1408"/>
                  </a:cubicBezTo>
                  <a:cubicBezTo>
                    <a:pt x="669" y="1411"/>
                    <a:pt x="681" y="1407"/>
                    <a:pt x="695" y="1410"/>
                  </a:cubicBezTo>
                  <a:cubicBezTo>
                    <a:pt x="685" y="1397"/>
                    <a:pt x="672" y="1379"/>
                    <a:pt x="659" y="1366"/>
                  </a:cubicBezTo>
                  <a:cubicBezTo>
                    <a:pt x="644" y="1368"/>
                    <a:pt x="632" y="1372"/>
                    <a:pt x="618" y="1375"/>
                  </a:cubicBezTo>
                  <a:close/>
                  <a:moveTo>
                    <a:pt x="879" y="1368"/>
                  </a:moveTo>
                  <a:cubicBezTo>
                    <a:pt x="870" y="1379"/>
                    <a:pt x="860" y="1391"/>
                    <a:pt x="850" y="1400"/>
                  </a:cubicBezTo>
                  <a:cubicBezTo>
                    <a:pt x="848" y="1403"/>
                    <a:pt x="842" y="1405"/>
                    <a:pt x="844" y="1409"/>
                  </a:cubicBezTo>
                  <a:cubicBezTo>
                    <a:pt x="857" y="1409"/>
                    <a:pt x="870" y="1407"/>
                    <a:pt x="884" y="1407"/>
                  </a:cubicBezTo>
                  <a:cubicBezTo>
                    <a:pt x="892" y="1402"/>
                    <a:pt x="900" y="1396"/>
                    <a:pt x="908" y="1391"/>
                  </a:cubicBezTo>
                  <a:cubicBezTo>
                    <a:pt x="908" y="1385"/>
                    <a:pt x="910" y="1381"/>
                    <a:pt x="911" y="1377"/>
                  </a:cubicBezTo>
                  <a:cubicBezTo>
                    <a:pt x="900" y="1374"/>
                    <a:pt x="890" y="1371"/>
                    <a:pt x="879" y="1368"/>
                  </a:cubicBezTo>
                  <a:close/>
                  <a:moveTo>
                    <a:pt x="419" y="1382"/>
                  </a:moveTo>
                  <a:cubicBezTo>
                    <a:pt x="416" y="1375"/>
                    <a:pt x="405" y="1372"/>
                    <a:pt x="398" y="1372"/>
                  </a:cubicBezTo>
                  <a:cubicBezTo>
                    <a:pt x="405" y="1375"/>
                    <a:pt x="413" y="1382"/>
                    <a:pt x="419" y="1382"/>
                  </a:cubicBezTo>
                  <a:close/>
                  <a:moveTo>
                    <a:pt x="332" y="1374"/>
                  </a:moveTo>
                  <a:cubicBezTo>
                    <a:pt x="368" y="1419"/>
                    <a:pt x="423" y="1445"/>
                    <a:pt x="487" y="1461"/>
                  </a:cubicBezTo>
                  <a:moveTo>
                    <a:pt x="487" y="1461"/>
                  </a:moveTo>
                  <a:cubicBezTo>
                    <a:pt x="488" y="1462"/>
                    <a:pt x="489" y="1461"/>
                    <a:pt x="487" y="1461"/>
                  </a:cubicBezTo>
                  <a:moveTo>
                    <a:pt x="487" y="1461"/>
                  </a:moveTo>
                  <a:cubicBezTo>
                    <a:pt x="476" y="1454"/>
                    <a:pt x="470" y="1441"/>
                    <a:pt x="458" y="1434"/>
                  </a:cubicBezTo>
                  <a:cubicBezTo>
                    <a:pt x="438" y="1423"/>
                    <a:pt x="414" y="1417"/>
                    <a:pt x="392" y="1407"/>
                  </a:cubicBezTo>
                  <a:cubicBezTo>
                    <a:pt x="371" y="1397"/>
                    <a:pt x="351" y="1384"/>
                    <a:pt x="332" y="1374"/>
                  </a:cubicBezTo>
                  <a:moveTo>
                    <a:pt x="332" y="1374"/>
                  </a:moveTo>
                  <a:cubicBezTo>
                    <a:pt x="331" y="1373"/>
                    <a:pt x="331" y="1374"/>
                    <a:pt x="332" y="1374"/>
                  </a:cubicBezTo>
                  <a:moveTo>
                    <a:pt x="419" y="1377"/>
                  </a:moveTo>
                  <a:cubicBezTo>
                    <a:pt x="420" y="1381"/>
                    <a:pt x="424" y="1383"/>
                    <a:pt x="425" y="1387"/>
                  </a:cubicBezTo>
                  <a:cubicBezTo>
                    <a:pt x="461" y="1403"/>
                    <a:pt x="496" y="1420"/>
                    <a:pt x="536" y="1431"/>
                  </a:cubicBezTo>
                  <a:cubicBezTo>
                    <a:pt x="537" y="1422"/>
                    <a:pt x="546" y="1417"/>
                    <a:pt x="546" y="1411"/>
                  </a:cubicBezTo>
                  <a:cubicBezTo>
                    <a:pt x="533" y="1406"/>
                    <a:pt x="522" y="1401"/>
                    <a:pt x="511" y="1394"/>
                  </a:cubicBezTo>
                  <a:cubicBezTo>
                    <a:pt x="479" y="1390"/>
                    <a:pt x="450" y="1383"/>
                    <a:pt x="419" y="1377"/>
                  </a:cubicBezTo>
                  <a:moveTo>
                    <a:pt x="419" y="1377"/>
                  </a:moveTo>
                  <a:cubicBezTo>
                    <a:pt x="419" y="1376"/>
                    <a:pt x="418" y="1377"/>
                    <a:pt x="419" y="1377"/>
                  </a:cubicBezTo>
                  <a:moveTo>
                    <a:pt x="612" y="1377"/>
                  </a:moveTo>
                  <a:cubicBezTo>
                    <a:pt x="601" y="1382"/>
                    <a:pt x="588" y="1386"/>
                    <a:pt x="579" y="1392"/>
                  </a:cubicBezTo>
                  <a:cubicBezTo>
                    <a:pt x="593" y="1405"/>
                    <a:pt x="625" y="1407"/>
                    <a:pt x="650" y="1406"/>
                  </a:cubicBezTo>
                  <a:cubicBezTo>
                    <a:pt x="636" y="1397"/>
                    <a:pt x="626" y="1386"/>
                    <a:pt x="612" y="1377"/>
                  </a:cubicBezTo>
                  <a:close/>
                  <a:moveTo>
                    <a:pt x="914" y="1387"/>
                  </a:moveTo>
                  <a:cubicBezTo>
                    <a:pt x="915" y="1384"/>
                    <a:pt x="920" y="1384"/>
                    <a:pt x="920" y="1380"/>
                  </a:cubicBezTo>
                  <a:cubicBezTo>
                    <a:pt x="917" y="1380"/>
                    <a:pt x="917" y="1378"/>
                    <a:pt x="914" y="1379"/>
                  </a:cubicBezTo>
                  <a:cubicBezTo>
                    <a:pt x="915" y="1382"/>
                    <a:pt x="911" y="1385"/>
                    <a:pt x="914" y="1387"/>
                  </a:cubicBezTo>
                  <a:close/>
                  <a:moveTo>
                    <a:pt x="1062" y="1382"/>
                  </a:moveTo>
                  <a:cubicBezTo>
                    <a:pt x="1061" y="1382"/>
                    <a:pt x="1059" y="1383"/>
                    <a:pt x="1059" y="1384"/>
                  </a:cubicBezTo>
                  <a:cubicBezTo>
                    <a:pt x="1061" y="1384"/>
                    <a:pt x="1062" y="1384"/>
                    <a:pt x="1062" y="1382"/>
                  </a:cubicBezTo>
                  <a:moveTo>
                    <a:pt x="1062" y="1382"/>
                  </a:moveTo>
                  <a:cubicBezTo>
                    <a:pt x="1064" y="1381"/>
                    <a:pt x="1062" y="1381"/>
                    <a:pt x="1062" y="1382"/>
                  </a:cubicBezTo>
                  <a:moveTo>
                    <a:pt x="911" y="1391"/>
                  </a:moveTo>
                  <a:cubicBezTo>
                    <a:pt x="911" y="1397"/>
                    <a:pt x="908" y="1400"/>
                    <a:pt x="908" y="1405"/>
                  </a:cubicBezTo>
                  <a:cubicBezTo>
                    <a:pt x="923" y="1401"/>
                    <a:pt x="944" y="1404"/>
                    <a:pt x="956" y="1397"/>
                  </a:cubicBezTo>
                  <a:cubicBezTo>
                    <a:pt x="941" y="1391"/>
                    <a:pt x="923" y="1374"/>
                    <a:pt x="911" y="1391"/>
                  </a:cubicBezTo>
                  <a:close/>
                  <a:moveTo>
                    <a:pt x="339" y="1387"/>
                  </a:moveTo>
                  <a:cubicBezTo>
                    <a:pt x="338" y="1387"/>
                    <a:pt x="339" y="1388"/>
                    <a:pt x="340" y="1388"/>
                  </a:cubicBezTo>
                  <a:moveTo>
                    <a:pt x="340" y="1388"/>
                  </a:moveTo>
                  <a:cubicBezTo>
                    <a:pt x="346" y="1400"/>
                    <a:pt x="356" y="1408"/>
                    <a:pt x="369" y="1414"/>
                  </a:cubicBezTo>
                  <a:moveTo>
                    <a:pt x="369" y="1414"/>
                  </a:moveTo>
                  <a:cubicBezTo>
                    <a:pt x="369" y="1414"/>
                    <a:pt x="371" y="1414"/>
                    <a:pt x="371" y="1415"/>
                  </a:cubicBezTo>
                  <a:moveTo>
                    <a:pt x="371" y="1415"/>
                  </a:moveTo>
                  <a:cubicBezTo>
                    <a:pt x="372" y="1416"/>
                    <a:pt x="372" y="1414"/>
                    <a:pt x="371" y="1415"/>
                  </a:cubicBezTo>
                  <a:moveTo>
                    <a:pt x="371" y="1415"/>
                  </a:moveTo>
                  <a:cubicBezTo>
                    <a:pt x="371" y="1414"/>
                    <a:pt x="370" y="1414"/>
                    <a:pt x="369" y="1414"/>
                  </a:cubicBezTo>
                  <a:moveTo>
                    <a:pt x="369" y="1414"/>
                  </a:moveTo>
                  <a:cubicBezTo>
                    <a:pt x="360" y="1405"/>
                    <a:pt x="349" y="1396"/>
                    <a:pt x="340" y="1388"/>
                  </a:cubicBezTo>
                  <a:moveTo>
                    <a:pt x="340" y="1388"/>
                  </a:moveTo>
                  <a:cubicBezTo>
                    <a:pt x="340" y="1387"/>
                    <a:pt x="339" y="1387"/>
                    <a:pt x="339" y="1387"/>
                  </a:cubicBezTo>
                  <a:moveTo>
                    <a:pt x="339" y="1387"/>
                  </a:moveTo>
                  <a:cubicBezTo>
                    <a:pt x="338" y="1385"/>
                    <a:pt x="337" y="1387"/>
                    <a:pt x="339" y="1387"/>
                  </a:cubicBezTo>
                  <a:moveTo>
                    <a:pt x="567" y="1396"/>
                  </a:moveTo>
                  <a:cubicBezTo>
                    <a:pt x="568" y="1393"/>
                    <a:pt x="572" y="1394"/>
                    <a:pt x="573" y="1391"/>
                  </a:cubicBezTo>
                  <a:cubicBezTo>
                    <a:pt x="570" y="1390"/>
                    <a:pt x="566" y="1388"/>
                    <a:pt x="563" y="1386"/>
                  </a:cubicBezTo>
                  <a:cubicBezTo>
                    <a:pt x="564" y="1390"/>
                    <a:pt x="565" y="1394"/>
                    <a:pt x="567" y="1396"/>
                  </a:cubicBezTo>
                  <a:close/>
                  <a:moveTo>
                    <a:pt x="982" y="1419"/>
                  </a:moveTo>
                  <a:cubicBezTo>
                    <a:pt x="986" y="1424"/>
                    <a:pt x="989" y="1430"/>
                    <a:pt x="989" y="1439"/>
                  </a:cubicBezTo>
                  <a:cubicBezTo>
                    <a:pt x="1006" y="1434"/>
                    <a:pt x="1021" y="1428"/>
                    <a:pt x="1038" y="1423"/>
                  </a:cubicBezTo>
                  <a:cubicBezTo>
                    <a:pt x="1040" y="1417"/>
                    <a:pt x="1046" y="1411"/>
                    <a:pt x="1050" y="1405"/>
                  </a:cubicBezTo>
                  <a:cubicBezTo>
                    <a:pt x="1054" y="1399"/>
                    <a:pt x="1059" y="1390"/>
                    <a:pt x="1059" y="1387"/>
                  </a:cubicBezTo>
                  <a:cubicBezTo>
                    <a:pt x="1030" y="1395"/>
                    <a:pt x="1008" y="1409"/>
                    <a:pt x="982" y="1419"/>
                  </a:cubicBezTo>
                  <a:close/>
                  <a:moveTo>
                    <a:pt x="1184" y="1388"/>
                  </a:moveTo>
                  <a:cubicBezTo>
                    <a:pt x="1153" y="1402"/>
                    <a:pt x="1127" y="1421"/>
                    <a:pt x="1103" y="1442"/>
                  </a:cubicBezTo>
                  <a:moveTo>
                    <a:pt x="1103" y="1442"/>
                  </a:moveTo>
                  <a:cubicBezTo>
                    <a:pt x="1102" y="1442"/>
                    <a:pt x="1101" y="1443"/>
                    <a:pt x="1101" y="1443"/>
                  </a:cubicBezTo>
                  <a:moveTo>
                    <a:pt x="1101" y="1443"/>
                  </a:moveTo>
                  <a:cubicBezTo>
                    <a:pt x="1099" y="1444"/>
                    <a:pt x="1101" y="1444"/>
                    <a:pt x="1101" y="1443"/>
                  </a:cubicBezTo>
                  <a:moveTo>
                    <a:pt x="1101" y="1443"/>
                  </a:moveTo>
                  <a:cubicBezTo>
                    <a:pt x="1102" y="1443"/>
                    <a:pt x="1103" y="1443"/>
                    <a:pt x="1103" y="1442"/>
                  </a:cubicBezTo>
                  <a:moveTo>
                    <a:pt x="1103" y="1442"/>
                  </a:moveTo>
                  <a:cubicBezTo>
                    <a:pt x="1134" y="1428"/>
                    <a:pt x="1167" y="1416"/>
                    <a:pt x="1184" y="1388"/>
                  </a:cubicBezTo>
                  <a:moveTo>
                    <a:pt x="1184" y="1388"/>
                  </a:moveTo>
                  <a:cubicBezTo>
                    <a:pt x="1186" y="1387"/>
                    <a:pt x="1184" y="1386"/>
                    <a:pt x="1184" y="1388"/>
                  </a:cubicBezTo>
                  <a:moveTo>
                    <a:pt x="429" y="1391"/>
                  </a:moveTo>
                  <a:cubicBezTo>
                    <a:pt x="438" y="1406"/>
                    <a:pt x="450" y="1419"/>
                    <a:pt x="461" y="1432"/>
                  </a:cubicBezTo>
                  <a:cubicBezTo>
                    <a:pt x="485" y="1439"/>
                    <a:pt x="511" y="1450"/>
                    <a:pt x="537" y="1452"/>
                  </a:cubicBezTo>
                  <a:cubicBezTo>
                    <a:pt x="534" y="1448"/>
                    <a:pt x="536" y="1440"/>
                    <a:pt x="535" y="1434"/>
                  </a:cubicBezTo>
                  <a:cubicBezTo>
                    <a:pt x="497" y="1422"/>
                    <a:pt x="463" y="1407"/>
                    <a:pt x="429" y="1391"/>
                  </a:cubicBezTo>
                  <a:moveTo>
                    <a:pt x="429" y="1391"/>
                  </a:moveTo>
                  <a:cubicBezTo>
                    <a:pt x="428" y="1390"/>
                    <a:pt x="428" y="1392"/>
                    <a:pt x="429" y="1391"/>
                  </a:cubicBezTo>
                  <a:moveTo>
                    <a:pt x="966" y="1402"/>
                  </a:moveTo>
                  <a:cubicBezTo>
                    <a:pt x="971" y="1406"/>
                    <a:pt x="976" y="1410"/>
                    <a:pt x="980" y="1416"/>
                  </a:cubicBezTo>
                  <a:cubicBezTo>
                    <a:pt x="1001" y="1409"/>
                    <a:pt x="1020" y="1400"/>
                    <a:pt x="1038" y="1391"/>
                  </a:cubicBezTo>
                  <a:cubicBezTo>
                    <a:pt x="1015" y="1395"/>
                    <a:pt x="989" y="1397"/>
                    <a:pt x="966" y="1402"/>
                  </a:cubicBezTo>
                  <a:close/>
                  <a:moveTo>
                    <a:pt x="567" y="1399"/>
                  </a:moveTo>
                  <a:cubicBezTo>
                    <a:pt x="573" y="1400"/>
                    <a:pt x="584" y="1403"/>
                    <a:pt x="589" y="1401"/>
                  </a:cubicBezTo>
                  <a:cubicBezTo>
                    <a:pt x="581" y="1397"/>
                    <a:pt x="574" y="1390"/>
                    <a:pt x="567" y="1399"/>
                  </a:cubicBezTo>
                  <a:close/>
                  <a:moveTo>
                    <a:pt x="891" y="1406"/>
                  </a:moveTo>
                  <a:cubicBezTo>
                    <a:pt x="896" y="1407"/>
                    <a:pt x="899" y="1404"/>
                    <a:pt x="904" y="1405"/>
                  </a:cubicBezTo>
                  <a:cubicBezTo>
                    <a:pt x="903" y="1401"/>
                    <a:pt x="907" y="1397"/>
                    <a:pt x="905" y="1395"/>
                  </a:cubicBezTo>
                  <a:cubicBezTo>
                    <a:pt x="901" y="1399"/>
                    <a:pt x="895" y="1402"/>
                    <a:pt x="891" y="1406"/>
                  </a:cubicBezTo>
                  <a:close/>
                  <a:moveTo>
                    <a:pt x="548" y="1410"/>
                  </a:moveTo>
                  <a:cubicBezTo>
                    <a:pt x="552" y="1408"/>
                    <a:pt x="555" y="1404"/>
                    <a:pt x="558" y="1401"/>
                  </a:cubicBezTo>
                  <a:cubicBezTo>
                    <a:pt x="546" y="1401"/>
                    <a:pt x="532" y="1396"/>
                    <a:pt x="521" y="1397"/>
                  </a:cubicBezTo>
                  <a:cubicBezTo>
                    <a:pt x="530" y="1401"/>
                    <a:pt x="539" y="1405"/>
                    <a:pt x="548" y="1410"/>
                  </a:cubicBezTo>
                  <a:close/>
                  <a:moveTo>
                    <a:pt x="552" y="1412"/>
                  </a:moveTo>
                  <a:cubicBezTo>
                    <a:pt x="559" y="1414"/>
                    <a:pt x="565" y="1417"/>
                    <a:pt x="572" y="1419"/>
                  </a:cubicBezTo>
                  <a:cubicBezTo>
                    <a:pt x="571" y="1413"/>
                    <a:pt x="567" y="1409"/>
                    <a:pt x="566" y="1402"/>
                  </a:cubicBezTo>
                  <a:cubicBezTo>
                    <a:pt x="558" y="1402"/>
                    <a:pt x="556" y="1408"/>
                    <a:pt x="552" y="1412"/>
                  </a:cubicBezTo>
                  <a:close/>
                  <a:moveTo>
                    <a:pt x="950" y="1403"/>
                  </a:moveTo>
                  <a:cubicBezTo>
                    <a:pt x="936" y="1407"/>
                    <a:pt x="915" y="1424"/>
                    <a:pt x="901" y="1427"/>
                  </a:cubicBezTo>
                  <a:cubicBezTo>
                    <a:pt x="899" y="1433"/>
                    <a:pt x="898" y="1439"/>
                    <a:pt x="895" y="1444"/>
                  </a:cubicBezTo>
                  <a:cubicBezTo>
                    <a:pt x="925" y="1438"/>
                    <a:pt x="950" y="1427"/>
                    <a:pt x="977" y="1418"/>
                  </a:cubicBezTo>
                  <a:cubicBezTo>
                    <a:pt x="971" y="1409"/>
                    <a:pt x="964" y="1399"/>
                    <a:pt x="950" y="1403"/>
                  </a:cubicBezTo>
                  <a:close/>
                  <a:moveTo>
                    <a:pt x="576" y="1421"/>
                  </a:moveTo>
                  <a:cubicBezTo>
                    <a:pt x="625" y="1439"/>
                    <a:pt x="678" y="1457"/>
                    <a:pt x="736" y="1463"/>
                  </a:cubicBezTo>
                  <a:cubicBezTo>
                    <a:pt x="684" y="1449"/>
                    <a:pt x="638" y="1429"/>
                    <a:pt x="596" y="1405"/>
                  </a:cubicBezTo>
                  <a:cubicBezTo>
                    <a:pt x="586" y="1405"/>
                    <a:pt x="579" y="1403"/>
                    <a:pt x="569" y="1403"/>
                  </a:cubicBezTo>
                  <a:cubicBezTo>
                    <a:pt x="571" y="1409"/>
                    <a:pt x="574" y="1415"/>
                    <a:pt x="576" y="1421"/>
                  </a:cubicBezTo>
                  <a:close/>
                  <a:moveTo>
                    <a:pt x="908" y="1407"/>
                  </a:moveTo>
                  <a:cubicBezTo>
                    <a:pt x="905" y="1412"/>
                    <a:pt x="905" y="1418"/>
                    <a:pt x="902" y="1423"/>
                  </a:cubicBezTo>
                  <a:cubicBezTo>
                    <a:pt x="917" y="1418"/>
                    <a:pt x="930" y="1411"/>
                    <a:pt x="942" y="1404"/>
                  </a:cubicBezTo>
                  <a:cubicBezTo>
                    <a:pt x="931" y="1405"/>
                    <a:pt x="920" y="1407"/>
                    <a:pt x="908" y="1407"/>
                  </a:cubicBezTo>
                  <a:close/>
                  <a:moveTo>
                    <a:pt x="606" y="1407"/>
                  </a:moveTo>
                  <a:cubicBezTo>
                    <a:pt x="645" y="1429"/>
                    <a:pt x="691" y="1449"/>
                    <a:pt x="737" y="1461"/>
                  </a:cubicBezTo>
                  <a:cubicBezTo>
                    <a:pt x="716" y="1449"/>
                    <a:pt x="695" y="1437"/>
                    <a:pt x="674" y="1423"/>
                  </a:cubicBezTo>
                  <a:cubicBezTo>
                    <a:pt x="667" y="1419"/>
                    <a:pt x="660" y="1411"/>
                    <a:pt x="654" y="1410"/>
                  </a:cubicBezTo>
                  <a:cubicBezTo>
                    <a:pt x="638" y="1406"/>
                    <a:pt x="624" y="1410"/>
                    <a:pt x="606" y="1407"/>
                  </a:cubicBezTo>
                  <a:moveTo>
                    <a:pt x="606" y="1407"/>
                  </a:moveTo>
                  <a:cubicBezTo>
                    <a:pt x="605" y="1404"/>
                    <a:pt x="602" y="1408"/>
                    <a:pt x="606" y="1407"/>
                  </a:cubicBezTo>
                  <a:moveTo>
                    <a:pt x="886" y="1409"/>
                  </a:moveTo>
                  <a:cubicBezTo>
                    <a:pt x="854" y="1430"/>
                    <a:pt x="820" y="1448"/>
                    <a:pt x="783" y="1463"/>
                  </a:cubicBezTo>
                  <a:cubicBezTo>
                    <a:pt x="824" y="1454"/>
                    <a:pt x="862" y="1441"/>
                    <a:pt x="897" y="1426"/>
                  </a:cubicBezTo>
                  <a:cubicBezTo>
                    <a:pt x="899" y="1420"/>
                    <a:pt x="901" y="1413"/>
                    <a:pt x="903" y="1408"/>
                  </a:cubicBezTo>
                  <a:cubicBezTo>
                    <a:pt x="897" y="1407"/>
                    <a:pt x="893" y="1410"/>
                    <a:pt x="886" y="1409"/>
                  </a:cubicBezTo>
                  <a:close/>
                  <a:moveTo>
                    <a:pt x="839" y="1412"/>
                  </a:moveTo>
                  <a:cubicBezTo>
                    <a:pt x="819" y="1430"/>
                    <a:pt x="798" y="1447"/>
                    <a:pt x="776" y="1463"/>
                  </a:cubicBezTo>
                  <a:cubicBezTo>
                    <a:pt x="814" y="1448"/>
                    <a:pt x="848" y="1430"/>
                    <a:pt x="879" y="1410"/>
                  </a:cubicBezTo>
                  <a:cubicBezTo>
                    <a:pt x="865" y="1410"/>
                    <a:pt x="853" y="1412"/>
                    <a:pt x="839" y="1412"/>
                  </a:cubicBezTo>
                  <a:close/>
                  <a:moveTo>
                    <a:pt x="736" y="1456"/>
                  </a:moveTo>
                  <a:cubicBezTo>
                    <a:pt x="735" y="1447"/>
                    <a:pt x="725" y="1440"/>
                    <a:pt x="718" y="1433"/>
                  </a:cubicBezTo>
                  <a:cubicBezTo>
                    <a:pt x="712" y="1427"/>
                    <a:pt x="704" y="1415"/>
                    <a:pt x="697" y="1413"/>
                  </a:cubicBezTo>
                  <a:cubicBezTo>
                    <a:pt x="687" y="1409"/>
                    <a:pt x="674" y="1412"/>
                    <a:pt x="661" y="1412"/>
                  </a:cubicBezTo>
                  <a:cubicBezTo>
                    <a:pt x="685" y="1428"/>
                    <a:pt x="708" y="1444"/>
                    <a:pt x="736" y="1456"/>
                  </a:cubicBezTo>
                  <a:close/>
                  <a:moveTo>
                    <a:pt x="770" y="1463"/>
                  </a:moveTo>
                  <a:cubicBezTo>
                    <a:pt x="769" y="1462"/>
                    <a:pt x="769" y="1463"/>
                    <a:pt x="769" y="1463"/>
                  </a:cubicBezTo>
                  <a:moveTo>
                    <a:pt x="769" y="1463"/>
                  </a:moveTo>
                  <a:cubicBezTo>
                    <a:pt x="767" y="1464"/>
                    <a:pt x="769" y="1465"/>
                    <a:pt x="769" y="1463"/>
                  </a:cubicBezTo>
                  <a:moveTo>
                    <a:pt x="769" y="1463"/>
                  </a:moveTo>
                  <a:cubicBezTo>
                    <a:pt x="770" y="1464"/>
                    <a:pt x="770" y="1463"/>
                    <a:pt x="770" y="1463"/>
                  </a:cubicBezTo>
                  <a:moveTo>
                    <a:pt x="770" y="1463"/>
                  </a:moveTo>
                  <a:cubicBezTo>
                    <a:pt x="789" y="1450"/>
                    <a:pt x="811" y="1435"/>
                    <a:pt x="828" y="1418"/>
                  </a:cubicBezTo>
                  <a:cubicBezTo>
                    <a:pt x="830" y="1417"/>
                    <a:pt x="834" y="1414"/>
                    <a:pt x="832" y="1412"/>
                  </a:cubicBezTo>
                  <a:cubicBezTo>
                    <a:pt x="824" y="1414"/>
                    <a:pt x="811" y="1412"/>
                    <a:pt x="801" y="1413"/>
                  </a:cubicBezTo>
                  <a:cubicBezTo>
                    <a:pt x="792" y="1430"/>
                    <a:pt x="781" y="1446"/>
                    <a:pt x="770" y="1463"/>
                  </a:cubicBezTo>
                  <a:moveTo>
                    <a:pt x="735" y="1445"/>
                  </a:moveTo>
                  <a:cubicBezTo>
                    <a:pt x="735" y="1434"/>
                    <a:pt x="734" y="1424"/>
                    <a:pt x="733" y="1414"/>
                  </a:cubicBezTo>
                  <a:cubicBezTo>
                    <a:pt x="724" y="1414"/>
                    <a:pt x="712" y="1411"/>
                    <a:pt x="702" y="1414"/>
                  </a:cubicBezTo>
                  <a:cubicBezTo>
                    <a:pt x="713" y="1424"/>
                    <a:pt x="723" y="1436"/>
                    <a:pt x="735" y="1445"/>
                  </a:cubicBezTo>
                  <a:close/>
                  <a:moveTo>
                    <a:pt x="574" y="1423"/>
                  </a:moveTo>
                  <a:cubicBezTo>
                    <a:pt x="566" y="1420"/>
                    <a:pt x="558" y="1416"/>
                    <a:pt x="549" y="1414"/>
                  </a:cubicBezTo>
                  <a:cubicBezTo>
                    <a:pt x="545" y="1420"/>
                    <a:pt x="540" y="1423"/>
                    <a:pt x="539" y="1433"/>
                  </a:cubicBezTo>
                  <a:cubicBezTo>
                    <a:pt x="554" y="1436"/>
                    <a:pt x="571" y="1443"/>
                    <a:pt x="584" y="1444"/>
                  </a:cubicBezTo>
                  <a:cubicBezTo>
                    <a:pt x="580" y="1438"/>
                    <a:pt x="578" y="1430"/>
                    <a:pt x="574" y="1423"/>
                  </a:cubicBezTo>
                  <a:close/>
                  <a:moveTo>
                    <a:pt x="761" y="1463"/>
                  </a:moveTo>
                  <a:cubicBezTo>
                    <a:pt x="763" y="1448"/>
                    <a:pt x="764" y="1430"/>
                    <a:pt x="766" y="1414"/>
                  </a:cubicBezTo>
                  <a:cubicBezTo>
                    <a:pt x="757" y="1414"/>
                    <a:pt x="745" y="1412"/>
                    <a:pt x="737" y="1415"/>
                  </a:cubicBezTo>
                  <a:cubicBezTo>
                    <a:pt x="745" y="1431"/>
                    <a:pt x="752" y="1449"/>
                    <a:pt x="761" y="1463"/>
                  </a:cubicBezTo>
                  <a:close/>
                  <a:moveTo>
                    <a:pt x="765" y="1464"/>
                  </a:moveTo>
                  <a:cubicBezTo>
                    <a:pt x="776" y="1448"/>
                    <a:pt x="788" y="1432"/>
                    <a:pt x="798" y="1414"/>
                  </a:cubicBezTo>
                  <a:cubicBezTo>
                    <a:pt x="788" y="1414"/>
                    <a:pt x="778" y="1414"/>
                    <a:pt x="768" y="1414"/>
                  </a:cubicBezTo>
                  <a:cubicBezTo>
                    <a:pt x="768" y="1431"/>
                    <a:pt x="764" y="1449"/>
                    <a:pt x="765" y="1464"/>
                  </a:cubicBezTo>
                  <a:close/>
                  <a:moveTo>
                    <a:pt x="366" y="1415"/>
                  </a:moveTo>
                  <a:cubicBezTo>
                    <a:pt x="366" y="1416"/>
                    <a:pt x="367" y="1416"/>
                    <a:pt x="367" y="1416"/>
                  </a:cubicBezTo>
                  <a:moveTo>
                    <a:pt x="367" y="1416"/>
                  </a:moveTo>
                  <a:cubicBezTo>
                    <a:pt x="382" y="1430"/>
                    <a:pt x="403" y="1442"/>
                    <a:pt x="422" y="1448"/>
                  </a:cubicBezTo>
                  <a:cubicBezTo>
                    <a:pt x="403" y="1438"/>
                    <a:pt x="388" y="1425"/>
                    <a:pt x="367" y="1416"/>
                  </a:cubicBezTo>
                  <a:moveTo>
                    <a:pt x="367" y="1416"/>
                  </a:moveTo>
                  <a:cubicBezTo>
                    <a:pt x="367" y="1416"/>
                    <a:pt x="366" y="1416"/>
                    <a:pt x="366" y="1415"/>
                  </a:cubicBezTo>
                  <a:moveTo>
                    <a:pt x="366" y="1415"/>
                  </a:moveTo>
                  <a:cubicBezTo>
                    <a:pt x="365" y="1414"/>
                    <a:pt x="364" y="1416"/>
                    <a:pt x="366" y="1415"/>
                  </a:cubicBezTo>
                  <a:moveTo>
                    <a:pt x="1132" y="1415"/>
                  </a:moveTo>
                  <a:cubicBezTo>
                    <a:pt x="1094" y="1431"/>
                    <a:pt x="1057" y="1446"/>
                    <a:pt x="1014" y="1456"/>
                  </a:cubicBezTo>
                  <a:cubicBezTo>
                    <a:pt x="1007" y="1463"/>
                    <a:pt x="999" y="1470"/>
                    <a:pt x="991" y="1477"/>
                  </a:cubicBezTo>
                  <a:cubicBezTo>
                    <a:pt x="1048" y="1467"/>
                    <a:pt x="1099" y="1450"/>
                    <a:pt x="1132" y="1415"/>
                  </a:cubicBezTo>
                  <a:moveTo>
                    <a:pt x="1132" y="1415"/>
                  </a:moveTo>
                  <a:cubicBezTo>
                    <a:pt x="1133" y="1415"/>
                    <a:pt x="1132" y="1414"/>
                    <a:pt x="1132" y="1415"/>
                  </a:cubicBezTo>
                  <a:moveTo>
                    <a:pt x="979" y="1419"/>
                  </a:moveTo>
                  <a:cubicBezTo>
                    <a:pt x="953" y="1430"/>
                    <a:pt x="925" y="1440"/>
                    <a:pt x="894" y="1447"/>
                  </a:cubicBezTo>
                  <a:cubicBezTo>
                    <a:pt x="893" y="1451"/>
                    <a:pt x="891" y="1455"/>
                    <a:pt x="890" y="1460"/>
                  </a:cubicBezTo>
                  <a:cubicBezTo>
                    <a:pt x="924" y="1455"/>
                    <a:pt x="955" y="1447"/>
                    <a:pt x="987" y="1439"/>
                  </a:cubicBezTo>
                  <a:cubicBezTo>
                    <a:pt x="986" y="1431"/>
                    <a:pt x="983" y="1424"/>
                    <a:pt x="979" y="1419"/>
                  </a:cubicBezTo>
                  <a:close/>
                  <a:moveTo>
                    <a:pt x="755" y="1463"/>
                  </a:moveTo>
                  <a:cubicBezTo>
                    <a:pt x="756" y="1464"/>
                    <a:pt x="756" y="1462"/>
                    <a:pt x="755" y="1463"/>
                  </a:cubicBezTo>
                  <a:moveTo>
                    <a:pt x="755" y="1463"/>
                  </a:moveTo>
                  <a:cubicBezTo>
                    <a:pt x="749" y="1449"/>
                    <a:pt x="743" y="1437"/>
                    <a:pt x="737" y="1424"/>
                  </a:cubicBezTo>
                  <a:cubicBezTo>
                    <a:pt x="736" y="1433"/>
                    <a:pt x="739" y="1439"/>
                    <a:pt x="738" y="1448"/>
                  </a:cubicBezTo>
                  <a:cubicBezTo>
                    <a:pt x="743" y="1453"/>
                    <a:pt x="749" y="1458"/>
                    <a:pt x="755" y="1463"/>
                  </a:cubicBezTo>
                  <a:moveTo>
                    <a:pt x="587" y="1446"/>
                  </a:moveTo>
                  <a:cubicBezTo>
                    <a:pt x="632" y="1456"/>
                    <a:pt x="682" y="1466"/>
                    <a:pt x="733" y="1466"/>
                  </a:cubicBezTo>
                  <a:cubicBezTo>
                    <a:pt x="676" y="1459"/>
                    <a:pt x="625" y="1440"/>
                    <a:pt x="578" y="1426"/>
                  </a:cubicBezTo>
                  <a:cubicBezTo>
                    <a:pt x="582" y="1432"/>
                    <a:pt x="584" y="1439"/>
                    <a:pt x="587" y="1446"/>
                  </a:cubicBezTo>
                  <a:close/>
                  <a:moveTo>
                    <a:pt x="1034" y="1427"/>
                  </a:moveTo>
                  <a:cubicBezTo>
                    <a:pt x="1019" y="1432"/>
                    <a:pt x="1004" y="1437"/>
                    <a:pt x="989" y="1441"/>
                  </a:cubicBezTo>
                  <a:cubicBezTo>
                    <a:pt x="989" y="1450"/>
                    <a:pt x="986" y="1454"/>
                    <a:pt x="984" y="1460"/>
                  </a:cubicBezTo>
                  <a:moveTo>
                    <a:pt x="984" y="1460"/>
                  </a:moveTo>
                  <a:cubicBezTo>
                    <a:pt x="982" y="1460"/>
                    <a:pt x="984" y="1461"/>
                    <a:pt x="984" y="1460"/>
                  </a:cubicBezTo>
                  <a:moveTo>
                    <a:pt x="984" y="1460"/>
                  </a:moveTo>
                  <a:cubicBezTo>
                    <a:pt x="994" y="1459"/>
                    <a:pt x="1001" y="1456"/>
                    <a:pt x="1011" y="1455"/>
                  </a:cubicBezTo>
                  <a:cubicBezTo>
                    <a:pt x="1019" y="1446"/>
                    <a:pt x="1027" y="1437"/>
                    <a:pt x="1034" y="1427"/>
                  </a:cubicBezTo>
                  <a:moveTo>
                    <a:pt x="1034" y="1427"/>
                  </a:moveTo>
                  <a:cubicBezTo>
                    <a:pt x="1035" y="1426"/>
                    <a:pt x="1034" y="1426"/>
                    <a:pt x="1034" y="1427"/>
                  </a:cubicBezTo>
                  <a:moveTo>
                    <a:pt x="1141" y="1428"/>
                  </a:moveTo>
                  <a:cubicBezTo>
                    <a:pt x="1141" y="1428"/>
                    <a:pt x="1142" y="1429"/>
                    <a:pt x="1141" y="1428"/>
                  </a:cubicBezTo>
                  <a:close/>
                  <a:moveTo>
                    <a:pt x="1139" y="1429"/>
                  </a:moveTo>
                  <a:cubicBezTo>
                    <a:pt x="1138" y="1429"/>
                    <a:pt x="1138" y="1429"/>
                    <a:pt x="1137" y="1430"/>
                  </a:cubicBezTo>
                  <a:moveTo>
                    <a:pt x="1137" y="1430"/>
                  </a:moveTo>
                  <a:cubicBezTo>
                    <a:pt x="1136" y="1430"/>
                    <a:pt x="1136" y="1430"/>
                    <a:pt x="1135" y="1431"/>
                  </a:cubicBezTo>
                  <a:moveTo>
                    <a:pt x="1135" y="1431"/>
                  </a:moveTo>
                  <a:cubicBezTo>
                    <a:pt x="1116" y="1441"/>
                    <a:pt x="1092" y="1448"/>
                    <a:pt x="1074" y="1461"/>
                  </a:cubicBezTo>
                  <a:cubicBezTo>
                    <a:pt x="1096" y="1452"/>
                    <a:pt x="1118" y="1443"/>
                    <a:pt x="1135" y="1431"/>
                  </a:cubicBezTo>
                  <a:moveTo>
                    <a:pt x="1135" y="1431"/>
                  </a:moveTo>
                  <a:cubicBezTo>
                    <a:pt x="1137" y="1431"/>
                    <a:pt x="1137" y="1431"/>
                    <a:pt x="1137" y="1430"/>
                  </a:cubicBezTo>
                  <a:moveTo>
                    <a:pt x="1137" y="1430"/>
                  </a:moveTo>
                  <a:cubicBezTo>
                    <a:pt x="1138" y="1430"/>
                    <a:pt x="1139" y="1430"/>
                    <a:pt x="1139" y="1429"/>
                  </a:cubicBezTo>
                  <a:moveTo>
                    <a:pt x="1139" y="1429"/>
                  </a:moveTo>
                  <a:cubicBezTo>
                    <a:pt x="1141" y="1428"/>
                    <a:pt x="1139" y="1428"/>
                    <a:pt x="1139" y="1429"/>
                  </a:cubicBezTo>
                  <a:moveTo>
                    <a:pt x="789" y="1465"/>
                  </a:moveTo>
                  <a:cubicBezTo>
                    <a:pt x="825" y="1461"/>
                    <a:pt x="858" y="1454"/>
                    <a:pt x="891" y="1446"/>
                  </a:cubicBezTo>
                  <a:cubicBezTo>
                    <a:pt x="892" y="1440"/>
                    <a:pt x="897" y="1434"/>
                    <a:pt x="895" y="1429"/>
                  </a:cubicBezTo>
                  <a:cubicBezTo>
                    <a:pt x="863" y="1444"/>
                    <a:pt x="826" y="1455"/>
                    <a:pt x="789" y="1465"/>
                  </a:cubicBezTo>
                  <a:close/>
                  <a:moveTo>
                    <a:pt x="404" y="1435"/>
                  </a:moveTo>
                  <a:cubicBezTo>
                    <a:pt x="404" y="1434"/>
                    <a:pt x="405" y="1435"/>
                    <a:pt x="404" y="1435"/>
                  </a:cubicBezTo>
                  <a:close/>
                  <a:moveTo>
                    <a:pt x="407" y="1436"/>
                  </a:moveTo>
                  <a:cubicBezTo>
                    <a:pt x="407" y="1437"/>
                    <a:pt x="408" y="1436"/>
                    <a:pt x="409" y="1437"/>
                  </a:cubicBezTo>
                  <a:moveTo>
                    <a:pt x="409" y="1437"/>
                  </a:moveTo>
                  <a:cubicBezTo>
                    <a:pt x="409" y="1437"/>
                    <a:pt x="409" y="1437"/>
                    <a:pt x="409" y="1438"/>
                  </a:cubicBezTo>
                  <a:cubicBezTo>
                    <a:pt x="439" y="1456"/>
                    <a:pt x="472" y="1472"/>
                    <a:pt x="513" y="1480"/>
                  </a:cubicBezTo>
                  <a:moveTo>
                    <a:pt x="513" y="1480"/>
                  </a:moveTo>
                  <a:cubicBezTo>
                    <a:pt x="514" y="1483"/>
                    <a:pt x="517" y="1479"/>
                    <a:pt x="513" y="1480"/>
                  </a:cubicBezTo>
                  <a:moveTo>
                    <a:pt x="513" y="1480"/>
                  </a:moveTo>
                  <a:cubicBezTo>
                    <a:pt x="487" y="1457"/>
                    <a:pt x="441" y="1454"/>
                    <a:pt x="409" y="1437"/>
                  </a:cubicBezTo>
                  <a:moveTo>
                    <a:pt x="409" y="1437"/>
                  </a:moveTo>
                  <a:cubicBezTo>
                    <a:pt x="409" y="1436"/>
                    <a:pt x="408" y="1436"/>
                    <a:pt x="407" y="1436"/>
                  </a:cubicBezTo>
                  <a:moveTo>
                    <a:pt x="407" y="1436"/>
                  </a:moveTo>
                  <a:cubicBezTo>
                    <a:pt x="406" y="1434"/>
                    <a:pt x="406" y="1436"/>
                    <a:pt x="407" y="1436"/>
                  </a:cubicBezTo>
                  <a:moveTo>
                    <a:pt x="541" y="1455"/>
                  </a:moveTo>
                  <a:cubicBezTo>
                    <a:pt x="559" y="1457"/>
                    <a:pt x="575" y="1462"/>
                    <a:pt x="594" y="1463"/>
                  </a:cubicBezTo>
                  <a:cubicBezTo>
                    <a:pt x="592" y="1458"/>
                    <a:pt x="588" y="1454"/>
                    <a:pt x="586" y="1448"/>
                  </a:cubicBezTo>
                  <a:cubicBezTo>
                    <a:pt x="570" y="1444"/>
                    <a:pt x="554" y="1440"/>
                    <a:pt x="538" y="1435"/>
                  </a:cubicBezTo>
                  <a:cubicBezTo>
                    <a:pt x="536" y="1441"/>
                    <a:pt x="539" y="1450"/>
                    <a:pt x="541" y="1455"/>
                  </a:cubicBezTo>
                  <a:close/>
                  <a:moveTo>
                    <a:pt x="466" y="1437"/>
                  </a:moveTo>
                  <a:cubicBezTo>
                    <a:pt x="466" y="1437"/>
                    <a:pt x="466" y="1437"/>
                    <a:pt x="466" y="1438"/>
                  </a:cubicBezTo>
                  <a:cubicBezTo>
                    <a:pt x="476" y="1446"/>
                    <a:pt x="485" y="1455"/>
                    <a:pt x="495" y="1463"/>
                  </a:cubicBezTo>
                  <a:cubicBezTo>
                    <a:pt x="514" y="1467"/>
                    <a:pt x="531" y="1473"/>
                    <a:pt x="552" y="1474"/>
                  </a:cubicBezTo>
                  <a:moveTo>
                    <a:pt x="552" y="1474"/>
                  </a:moveTo>
                  <a:cubicBezTo>
                    <a:pt x="552" y="1475"/>
                    <a:pt x="553" y="1474"/>
                    <a:pt x="552" y="1474"/>
                  </a:cubicBezTo>
                  <a:moveTo>
                    <a:pt x="552" y="1474"/>
                  </a:moveTo>
                  <a:cubicBezTo>
                    <a:pt x="547" y="1468"/>
                    <a:pt x="542" y="1463"/>
                    <a:pt x="538" y="1456"/>
                  </a:cubicBezTo>
                  <a:cubicBezTo>
                    <a:pt x="512" y="1451"/>
                    <a:pt x="490" y="1443"/>
                    <a:pt x="466" y="1437"/>
                  </a:cubicBezTo>
                  <a:moveTo>
                    <a:pt x="466" y="1437"/>
                  </a:moveTo>
                  <a:cubicBezTo>
                    <a:pt x="466" y="1435"/>
                    <a:pt x="465" y="1437"/>
                    <a:pt x="466" y="1437"/>
                  </a:cubicBezTo>
                  <a:moveTo>
                    <a:pt x="888" y="1463"/>
                  </a:moveTo>
                  <a:cubicBezTo>
                    <a:pt x="888" y="1467"/>
                    <a:pt x="885" y="1469"/>
                    <a:pt x="884" y="1472"/>
                  </a:cubicBezTo>
                  <a:cubicBezTo>
                    <a:pt x="919" y="1472"/>
                    <a:pt x="949" y="1466"/>
                    <a:pt x="980" y="1462"/>
                  </a:cubicBezTo>
                  <a:cubicBezTo>
                    <a:pt x="982" y="1456"/>
                    <a:pt x="988" y="1448"/>
                    <a:pt x="986" y="1441"/>
                  </a:cubicBezTo>
                  <a:cubicBezTo>
                    <a:pt x="956" y="1451"/>
                    <a:pt x="922" y="1458"/>
                    <a:pt x="888" y="1463"/>
                  </a:cubicBezTo>
                  <a:close/>
                  <a:moveTo>
                    <a:pt x="1098" y="1445"/>
                  </a:moveTo>
                  <a:cubicBezTo>
                    <a:pt x="1098" y="1445"/>
                    <a:pt x="1099" y="1446"/>
                    <a:pt x="1098" y="1445"/>
                  </a:cubicBezTo>
                  <a:close/>
                  <a:moveTo>
                    <a:pt x="423" y="1450"/>
                  </a:moveTo>
                  <a:cubicBezTo>
                    <a:pt x="423" y="1450"/>
                    <a:pt x="424" y="1451"/>
                    <a:pt x="423" y="1450"/>
                  </a:cubicBezTo>
                  <a:close/>
                  <a:moveTo>
                    <a:pt x="600" y="1464"/>
                  </a:moveTo>
                  <a:cubicBezTo>
                    <a:pt x="639" y="1469"/>
                    <a:pt x="688" y="1474"/>
                    <a:pt x="730" y="1469"/>
                  </a:cubicBezTo>
                  <a:cubicBezTo>
                    <a:pt x="679" y="1467"/>
                    <a:pt x="633" y="1459"/>
                    <a:pt x="590" y="1449"/>
                  </a:cubicBezTo>
                  <a:cubicBezTo>
                    <a:pt x="593" y="1455"/>
                    <a:pt x="595" y="1461"/>
                    <a:pt x="600" y="1464"/>
                  </a:cubicBezTo>
                  <a:close/>
                  <a:moveTo>
                    <a:pt x="888" y="1449"/>
                  </a:moveTo>
                  <a:cubicBezTo>
                    <a:pt x="859" y="1457"/>
                    <a:pt x="828" y="1462"/>
                    <a:pt x="797" y="1467"/>
                  </a:cubicBezTo>
                  <a:cubicBezTo>
                    <a:pt x="795" y="1467"/>
                    <a:pt x="793" y="1467"/>
                    <a:pt x="792" y="1467"/>
                  </a:cubicBezTo>
                  <a:cubicBezTo>
                    <a:pt x="790" y="1468"/>
                    <a:pt x="792" y="1469"/>
                    <a:pt x="794" y="1468"/>
                  </a:cubicBezTo>
                  <a:cubicBezTo>
                    <a:pt x="826" y="1467"/>
                    <a:pt x="856" y="1465"/>
                    <a:pt x="885" y="1461"/>
                  </a:cubicBezTo>
                  <a:cubicBezTo>
                    <a:pt x="887" y="1457"/>
                    <a:pt x="888" y="1453"/>
                    <a:pt x="890" y="1449"/>
                  </a:cubicBezTo>
                  <a:cubicBezTo>
                    <a:pt x="889" y="1449"/>
                    <a:pt x="888" y="1449"/>
                    <a:pt x="888" y="1449"/>
                  </a:cubicBezTo>
                  <a:close/>
                  <a:moveTo>
                    <a:pt x="425" y="1451"/>
                  </a:moveTo>
                  <a:cubicBezTo>
                    <a:pt x="425" y="1451"/>
                    <a:pt x="426" y="1452"/>
                    <a:pt x="425" y="1451"/>
                  </a:cubicBezTo>
                  <a:close/>
                  <a:moveTo>
                    <a:pt x="427" y="1452"/>
                  </a:moveTo>
                  <a:cubicBezTo>
                    <a:pt x="427" y="1452"/>
                    <a:pt x="428" y="1453"/>
                    <a:pt x="427" y="1452"/>
                  </a:cubicBezTo>
                  <a:close/>
                  <a:moveTo>
                    <a:pt x="429" y="1453"/>
                  </a:moveTo>
                  <a:cubicBezTo>
                    <a:pt x="428" y="1453"/>
                    <a:pt x="430" y="1454"/>
                    <a:pt x="429" y="1453"/>
                  </a:cubicBezTo>
                  <a:close/>
                  <a:moveTo>
                    <a:pt x="749" y="1462"/>
                  </a:moveTo>
                  <a:cubicBezTo>
                    <a:pt x="749" y="1462"/>
                    <a:pt x="750" y="1462"/>
                    <a:pt x="750" y="1463"/>
                  </a:cubicBezTo>
                  <a:moveTo>
                    <a:pt x="750" y="1463"/>
                  </a:moveTo>
                  <a:cubicBezTo>
                    <a:pt x="751" y="1464"/>
                    <a:pt x="752" y="1462"/>
                    <a:pt x="750" y="1463"/>
                  </a:cubicBezTo>
                  <a:moveTo>
                    <a:pt x="750" y="1463"/>
                  </a:moveTo>
                  <a:cubicBezTo>
                    <a:pt x="750" y="1462"/>
                    <a:pt x="749" y="1462"/>
                    <a:pt x="749" y="1462"/>
                  </a:cubicBezTo>
                  <a:moveTo>
                    <a:pt x="749" y="1462"/>
                  </a:moveTo>
                  <a:cubicBezTo>
                    <a:pt x="746" y="1458"/>
                    <a:pt x="742" y="1456"/>
                    <a:pt x="739" y="1453"/>
                  </a:cubicBezTo>
                  <a:cubicBezTo>
                    <a:pt x="738" y="1460"/>
                    <a:pt x="744" y="1460"/>
                    <a:pt x="749" y="1462"/>
                  </a:cubicBezTo>
                  <a:moveTo>
                    <a:pt x="559" y="1476"/>
                  </a:moveTo>
                  <a:cubicBezTo>
                    <a:pt x="572" y="1480"/>
                    <a:pt x="590" y="1477"/>
                    <a:pt x="605" y="1480"/>
                  </a:cubicBezTo>
                  <a:cubicBezTo>
                    <a:pt x="605" y="1476"/>
                    <a:pt x="598" y="1472"/>
                    <a:pt x="597" y="1466"/>
                  </a:cubicBezTo>
                  <a:cubicBezTo>
                    <a:pt x="577" y="1465"/>
                    <a:pt x="561" y="1460"/>
                    <a:pt x="543" y="1458"/>
                  </a:cubicBezTo>
                  <a:cubicBezTo>
                    <a:pt x="547" y="1464"/>
                    <a:pt x="551" y="1473"/>
                    <a:pt x="559" y="1476"/>
                  </a:cubicBezTo>
                  <a:close/>
                  <a:moveTo>
                    <a:pt x="981" y="1463"/>
                  </a:moveTo>
                  <a:cubicBezTo>
                    <a:pt x="976" y="1471"/>
                    <a:pt x="970" y="1476"/>
                    <a:pt x="964" y="1481"/>
                  </a:cubicBezTo>
                  <a:cubicBezTo>
                    <a:pt x="972" y="1480"/>
                    <a:pt x="978" y="1479"/>
                    <a:pt x="986" y="1478"/>
                  </a:cubicBezTo>
                  <a:cubicBezTo>
                    <a:pt x="993" y="1472"/>
                    <a:pt x="1000" y="1466"/>
                    <a:pt x="1007" y="1460"/>
                  </a:cubicBezTo>
                  <a:cubicBezTo>
                    <a:pt x="1007" y="1458"/>
                    <a:pt x="1008" y="1458"/>
                    <a:pt x="1006" y="1458"/>
                  </a:cubicBezTo>
                  <a:cubicBezTo>
                    <a:pt x="998" y="1460"/>
                    <a:pt x="989" y="1461"/>
                    <a:pt x="981" y="1463"/>
                  </a:cubicBezTo>
                  <a:close/>
                  <a:moveTo>
                    <a:pt x="1069" y="1460"/>
                  </a:moveTo>
                  <a:cubicBezTo>
                    <a:pt x="1069" y="1459"/>
                    <a:pt x="1070" y="1460"/>
                    <a:pt x="1069" y="1460"/>
                  </a:cubicBezTo>
                  <a:close/>
                  <a:moveTo>
                    <a:pt x="1066" y="1461"/>
                  </a:moveTo>
                  <a:cubicBezTo>
                    <a:pt x="1041" y="1468"/>
                    <a:pt x="1016" y="1476"/>
                    <a:pt x="987" y="1480"/>
                  </a:cubicBezTo>
                  <a:cubicBezTo>
                    <a:pt x="984" y="1484"/>
                    <a:pt x="979" y="1485"/>
                    <a:pt x="976" y="1488"/>
                  </a:cubicBezTo>
                  <a:cubicBezTo>
                    <a:pt x="1008" y="1481"/>
                    <a:pt x="1042" y="1475"/>
                    <a:pt x="1066" y="1461"/>
                  </a:cubicBezTo>
                  <a:moveTo>
                    <a:pt x="1066" y="1461"/>
                  </a:moveTo>
                  <a:cubicBezTo>
                    <a:pt x="1070" y="1462"/>
                    <a:pt x="1067" y="1458"/>
                    <a:pt x="1066" y="1461"/>
                  </a:cubicBezTo>
                  <a:moveTo>
                    <a:pt x="742" y="1463"/>
                  </a:moveTo>
                  <a:cubicBezTo>
                    <a:pt x="742" y="1465"/>
                    <a:pt x="746" y="1462"/>
                    <a:pt x="742" y="1463"/>
                  </a:cubicBezTo>
                  <a:moveTo>
                    <a:pt x="742" y="1463"/>
                  </a:moveTo>
                  <a:cubicBezTo>
                    <a:pt x="741" y="1462"/>
                    <a:pt x="740" y="1461"/>
                    <a:pt x="739" y="1461"/>
                  </a:cubicBezTo>
                  <a:cubicBezTo>
                    <a:pt x="739" y="1463"/>
                    <a:pt x="740" y="1462"/>
                    <a:pt x="742" y="1463"/>
                  </a:cubicBezTo>
                  <a:moveTo>
                    <a:pt x="1072" y="1462"/>
                  </a:moveTo>
                  <a:cubicBezTo>
                    <a:pt x="1072" y="1461"/>
                    <a:pt x="1073" y="1462"/>
                    <a:pt x="1072" y="1462"/>
                  </a:cubicBezTo>
                  <a:close/>
                  <a:moveTo>
                    <a:pt x="774" y="1463"/>
                  </a:moveTo>
                  <a:cubicBezTo>
                    <a:pt x="774" y="1463"/>
                    <a:pt x="775" y="1464"/>
                    <a:pt x="774" y="1463"/>
                  </a:cubicBezTo>
                  <a:close/>
                  <a:moveTo>
                    <a:pt x="746" y="1464"/>
                  </a:moveTo>
                  <a:cubicBezTo>
                    <a:pt x="745" y="1464"/>
                    <a:pt x="746" y="1465"/>
                    <a:pt x="746" y="1464"/>
                  </a:cubicBezTo>
                  <a:close/>
                  <a:moveTo>
                    <a:pt x="780" y="1464"/>
                  </a:moveTo>
                  <a:cubicBezTo>
                    <a:pt x="780" y="1464"/>
                    <a:pt x="781" y="1465"/>
                    <a:pt x="780" y="1464"/>
                  </a:cubicBezTo>
                  <a:close/>
                  <a:moveTo>
                    <a:pt x="796" y="1472"/>
                  </a:moveTo>
                  <a:cubicBezTo>
                    <a:pt x="823" y="1473"/>
                    <a:pt x="851" y="1473"/>
                    <a:pt x="879" y="1473"/>
                  </a:cubicBezTo>
                  <a:cubicBezTo>
                    <a:pt x="879" y="1470"/>
                    <a:pt x="886" y="1464"/>
                    <a:pt x="882" y="1463"/>
                  </a:cubicBezTo>
                  <a:cubicBezTo>
                    <a:pt x="855" y="1469"/>
                    <a:pt x="823" y="1468"/>
                    <a:pt x="796" y="1472"/>
                  </a:cubicBezTo>
                  <a:close/>
                  <a:moveTo>
                    <a:pt x="882" y="1475"/>
                  </a:moveTo>
                  <a:cubicBezTo>
                    <a:pt x="882" y="1479"/>
                    <a:pt x="879" y="1481"/>
                    <a:pt x="878" y="1485"/>
                  </a:cubicBezTo>
                  <a:cubicBezTo>
                    <a:pt x="901" y="1482"/>
                    <a:pt x="937" y="1489"/>
                    <a:pt x="958" y="1482"/>
                  </a:cubicBezTo>
                  <a:cubicBezTo>
                    <a:pt x="961" y="1480"/>
                    <a:pt x="965" y="1476"/>
                    <a:pt x="968" y="1473"/>
                  </a:cubicBezTo>
                  <a:cubicBezTo>
                    <a:pt x="971" y="1470"/>
                    <a:pt x="977" y="1467"/>
                    <a:pt x="975" y="1464"/>
                  </a:cubicBezTo>
                  <a:cubicBezTo>
                    <a:pt x="946" y="1470"/>
                    <a:pt x="916" y="1474"/>
                    <a:pt x="882" y="1475"/>
                  </a:cubicBezTo>
                  <a:close/>
                  <a:moveTo>
                    <a:pt x="784" y="1466"/>
                  </a:moveTo>
                  <a:cubicBezTo>
                    <a:pt x="784" y="1466"/>
                    <a:pt x="785" y="1467"/>
                    <a:pt x="784" y="1466"/>
                  </a:cubicBezTo>
                  <a:close/>
                  <a:moveTo>
                    <a:pt x="503" y="1468"/>
                  </a:moveTo>
                  <a:cubicBezTo>
                    <a:pt x="520" y="1486"/>
                    <a:pt x="554" y="1491"/>
                    <a:pt x="582" y="1493"/>
                  </a:cubicBezTo>
                  <a:cubicBezTo>
                    <a:pt x="572" y="1490"/>
                    <a:pt x="565" y="1483"/>
                    <a:pt x="556" y="1478"/>
                  </a:cubicBezTo>
                  <a:cubicBezTo>
                    <a:pt x="537" y="1475"/>
                    <a:pt x="521" y="1471"/>
                    <a:pt x="503" y="1468"/>
                  </a:cubicBezTo>
                  <a:moveTo>
                    <a:pt x="503" y="1468"/>
                  </a:moveTo>
                  <a:cubicBezTo>
                    <a:pt x="502" y="1467"/>
                    <a:pt x="502" y="1468"/>
                    <a:pt x="503" y="1468"/>
                  </a:cubicBezTo>
                  <a:moveTo>
                    <a:pt x="611" y="1480"/>
                  </a:moveTo>
                  <a:cubicBezTo>
                    <a:pt x="653" y="1483"/>
                    <a:pt x="697" y="1480"/>
                    <a:pt x="732" y="1473"/>
                  </a:cubicBezTo>
                  <a:cubicBezTo>
                    <a:pt x="687" y="1475"/>
                    <a:pt x="642" y="1473"/>
                    <a:pt x="601" y="1467"/>
                  </a:cubicBezTo>
                  <a:cubicBezTo>
                    <a:pt x="604" y="1472"/>
                    <a:pt x="605" y="1478"/>
                    <a:pt x="611" y="1480"/>
                  </a:cubicBezTo>
                  <a:close/>
                  <a:moveTo>
                    <a:pt x="738" y="1472"/>
                  </a:moveTo>
                  <a:cubicBezTo>
                    <a:pt x="737" y="1472"/>
                    <a:pt x="736" y="1472"/>
                    <a:pt x="736" y="1473"/>
                  </a:cubicBezTo>
                  <a:cubicBezTo>
                    <a:pt x="737" y="1473"/>
                    <a:pt x="738" y="1473"/>
                    <a:pt x="738" y="1472"/>
                  </a:cubicBezTo>
                  <a:close/>
                  <a:moveTo>
                    <a:pt x="789" y="1473"/>
                  </a:moveTo>
                  <a:cubicBezTo>
                    <a:pt x="788" y="1473"/>
                    <a:pt x="786" y="1473"/>
                    <a:pt x="786" y="1474"/>
                  </a:cubicBezTo>
                  <a:cubicBezTo>
                    <a:pt x="787" y="1474"/>
                    <a:pt x="789" y="1474"/>
                    <a:pt x="789" y="1473"/>
                  </a:cubicBezTo>
                  <a:close/>
                  <a:moveTo>
                    <a:pt x="742" y="1475"/>
                  </a:moveTo>
                  <a:cubicBezTo>
                    <a:pt x="741" y="1475"/>
                    <a:pt x="742" y="1476"/>
                    <a:pt x="742" y="1475"/>
                  </a:cubicBezTo>
                  <a:close/>
                  <a:moveTo>
                    <a:pt x="745" y="1509"/>
                  </a:moveTo>
                  <a:cubicBezTo>
                    <a:pt x="748" y="1509"/>
                    <a:pt x="752" y="1509"/>
                    <a:pt x="755" y="1509"/>
                  </a:cubicBezTo>
                  <a:cubicBezTo>
                    <a:pt x="757" y="1498"/>
                    <a:pt x="761" y="1484"/>
                    <a:pt x="759" y="1474"/>
                  </a:cubicBezTo>
                  <a:cubicBezTo>
                    <a:pt x="754" y="1485"/>
                    <a:pt x="737" y="1490"/>
                    <a:pt x="745" y="1509"/>
                  </a:cubicBezTo>
                  <a:close/>
                  <a:moveTo>
                    <a:pt x="877" y="1476"/>
                  </a:moveTo>
                  <a:cubicBezTo>
                    <a:pt x="879" y="1475"/>
                    <a:pt x="877" y="1475"/>
                    <a:pt x="877" y="1476"/>
                  </a:cubicBezTo>
                  <a:moveTo>
                    <a:pt x="877" y="1476"/>
                  </a:moveTo>
                  <a:cubicBezTo>
                    <a:pt x="848" y="1477"/>
                    <a:pt x="817" y="1475"/>
                    <a:pt x="791" y="1475"/>
                  </a:cubicBezTo>
                  <a:cubicBezTo>
                    <a:pt x="817" y="1479"/>
                    <a:pt x="844" y="1483"/>
                    <a:pt x="873" y="1485"/>
                  </a:cubicBezTo>
                  <a:cubicBezTo>
                    <a:pt x="875" y="1482"/>
                    <a:pt x="877" y="1480"/>
                    <a:pt x="877" y="1476"/>
                  </a:cubicBezTo>
                  <a:moveTo>
                    <a:pt x="655" y="1493"/>
                  </a:moveTo>
                  <a:cubicBezTo>
                    <a:pt x="685" y="1490"/>
                    <a:pt x="715" y="1482"/>
                    <a:pt x="737" y="1477"/>
                  </a:cubicBezTo>
                  <a:cubicBezTo>
                    <a:pt x="737" y="1476"/>
                    <a:pt x="739" y="1475"/>
                    <a:pt x="736" y="1475"/>
                  </a:cubicBezTo>
                  <a:cubicBezTo>
                    <a:pt x="700" y="1482"/>
                    <a:pt x="655" y="1485"/>
                    <a:pt x="612" y="1483"/>
                  </a:cubicBezTo>
                  <a:cubicBezTo>
                    <a:pt x="615" y="1498"/>
                    <a:pt x="635" y="1496"/>
                    <a:pt x="655" y="1493"/>
                  </a:cubicBezTo>
                  <a:close/>
                  <a:moveTo>
                    <a:pt x="749" y="1476"/>
                  </a:moveTo>
                  <a:cubicBezTo>
                    <a:pt x="748" y="1476"/>
                    <a:pt x="749" y="1477"/>
                    <a:pt x="749" y="1476"/>
                  </a:cubicBezTo>
                  <a:close/>
                  <a:moveTo>
                    <a:pt x="754" y="1476"/>
                  </a:moveTo>
                  <a:cubicBezTo>
                    <a:pt x="749" y="1477"/>
                    <a:pt x="746" y="1481"/>
                    <a:pt x="741" y="1483"/>
                  </a:cubicBezTo>
                  <a:cubicBezTo>
                    <a:pt x="742" y="1484"/>
                    <a:pt x="741" y="1488"/>
                    <a:pt x="743" y="1489"/>
                  </a:cubicBezTo>
                  <a:cubicBezTo>
                    <a:pt x="746" y="1485"/>
                    <a:pt x="752" y="1481"/>
                    <a:pt x="754" y="1476"/>
                  </a:cubicBezTo>
                  <a:moveTo>
                    <a:pt x="754" y="1476"/>
                  </a:moveTo>
                  <a:cubicBezTo>
                    <a:pt x="756" y="1475"/>
                    <a:pt x="754" y="1475"/>
                    <a:pt x="754" y="1476"/>
                  </a:cubicBezTo>
                  <a:moveTo>
                    <a:pt x="773" y="1476"/>
                  </a:moveTo>
                  <a:cubicBezTo>
                    <a:pt x="772" y="1476"/>
                    <a:pt x="773" y="1477"/>
                    <a:pt x="773" y="1476"/>
                  </a:cubicBezTo>
                  <a:close/>
                  <a:moveTo>
                    <a:pt x="782" y="1475"/>
                  </a:moveTo>
                  <a:cubicBezTo>
                    <a:pt x="781" y="1475"/>
                    <a:pt x="780" y="1475"/>
                    <a:pt x="780" y="1476"/>
                  </a:cubicBezTo>
                  <a:cubicBezTo>
                    <a:pt x="781" y="1476"/>
                    <a:pt x="782" y="1476"/>
                    <a:pt x="782" y="1475"/>
                  </a:cubicBezTo>
                  <a:close/>
                  <a:moveTo>
                    <a:pt x="746" y="1477"/>
                  </a:moveTo>
                  <a:cubicBezTo>
                    <a:pt x="743" y="1476"/>
                    <a:pt x="739" y="1478"/>
                    <a:pt x="742" y="1480"/>
                  </a:cubicBezTo>
                  <a:cubicBezTo>
                    <a:pt x="742" y="1478"/>
                    <a:pt x="745" y="1479"/>
                    <a:pt x="746" y="1477"/>
                  </a:cubicBezTo>
                  <a:moveTo>
                    <a:pt x="746" y="1477"/>
                  </a:moveTo>
                  <a:cubicBezTo>
                    <a:pt x="750" y="1478"/>
                    <a:pt x="746" y="1474"/>
                    <a:pt x="746" y="1477"/>
                  </a:cubicBezTo>
                  <a:moveTo>
                    <a:pt x="758" y="1509"/>
                  </a:moveTo>
                  <a:cubicBezTo>
                    <a:pt x="768" y="1509"/>
                    <a:pt x="777" y="1509"/>
                    <a:pt x="787" y="1509"/>
                  </a:cubicBezTo>
                  <a:cubicBezTo>
                    <a:pt x="781" y="1500"/>
                    <a:pt x="770" y="1487"/>
                    <a:pt x="763" y="1476"/>
                  </a:cubicBezTo>
                  <a:cubicBezTo>
                    <a:pt x="761" y="1486"/>
                    <a:pt x="760" y="1498"/>
                    <a:pt x="758" y="1509"/>
                  </a:cubicBezTo>
                  <a:close/>
                  <a:moveTo>
                    <a:pt x="796" y="1509"/>
                  </a:moveTo>
                  <a:cubicBezTo>
                    <a:pt x="804" y="1511"/>
                    <a:pt x="813" y="1505"/>
                    <a:pt x="826" y="1508"/>
                  </a:cubicBezTo>
                  <a:cubicBezTo>
                    <a:pt x="807" y="1497"/>
                    <a:pt x="786" y="1489"/>
                    <a:pt x="769" y="1476"/>
                  </a:cubicBezTo>
                  <a:cubicBezTo>
                    <a:pt x="777" y="1485"/>
                    <a:pt x="782" y="1505"/>
                    <a:pt x="796" y="1509"/>
                  </a:cubicBezTo>
                  <a:close/>
                  <a:moveTo>
                    <a:pt x="837" y="1507"/>
                  </a:moveTo>
                  <a:cubicBezTo>
                    <a:pt x="844" y="1507"/>
                    <a:pt x="860" y="1507"/>
                    <a:pt x="864" y="1499"/>
                  </a:cubicBezTo>
                  <a:cubicBezTo>
                    <a:pt x="831" y="1496"/>
                    <a:pt x="800" y="1484"/>
                    <a:pt x="774" y="1477"/>
                  </a:cubicBezTo>
                  <a:cubicBezTo>
                    <a:pt x="791" y="1485"/>
                    <a:pt x="814" y="1505"/>
                    <a:pt x="837" y="1507"/>
                  </a:cubicBezTo>
                  <a:close/>
                  <a:moveTo>
                    <a:pt x="865" y="1497"/>
                  </a:moveTo>
                  <a:cubicBezTo>
                    <a:pt x="867" y="1494"/>
                    <a:pt x="870" y="1491"/>
                    <a:pt x="871" y="1487"/>
                  </a:cubicBezTo>
                  <a:cubicBezTo>
                    <a:pt x="839" y="1487"/>
                    <a:pt x="810" y="1479"/>
                    <a:pt x="783" y="1477"/>
                  </a:cubicBezTo>
                  <a:cubicBezTo>
                    <a:pt x="809" y="1485"/>
                    <a:pt x="835" y="1493"/>
                    <a:pt x="865" y="1497"/>
                  </a:cubicBezTo>
                  <a:close/>
                  <a:moveTo>
                    <a:pt x="617" y="1495"/>
                  </a:moveTo>
                  <a:cubicBezTo>
                    <a:pt x="616" y="1492"/>
                    <a:pt x="610" y="1486"/>
                    <a:pt x="606" y="1483"/>
                  </a:cubicBezTo>
                  <a:cubicBezTo>
                    <a:pt x="592" y="1483"/>
                    <a:pt x="576" y="1479"/>
                    <a:pt x="563" y="1480"/>
                  </a:cubicBezTo>
                  <a:cubicBezTo>
                    <a:pt x="577" y="1489"/>
                    <a:pt x="591" y="1498"/>
                    <a:pt x="617" y="1495"/>
                  </a:cubicBezTo>
                  <a:close/>
                  <a:moveTo>
                    <a:pt x="626" y="1499"/>
                  </a:moveTo>
                  <a:cubicBezTo>
                    <a:pt x="667" y="1513"/>
                    <a:pt x="710" y="1498"/>
                    <a:pt x="738" y="1480"/>
                  </a:cubicBezTo>
                  <a:cubicBezTo>
                    <a:pt x="706" y="1488"/>
                    <a:pt x="665" y="1495"/>
                    <a:pt x="626" y="1499"/>
                  </a:cubicBezTo>
                  <a:close/>
                  <a:moveTo>
                    <a:pt x="1025" y="1480"/>
                  </a:moveTo>
                  <a:cubicBezTo>
                    <a:pt x="1025" y="1479"/>
                    <a:pt x="1026" y="1480"/>
                    <a:pt x="1025" y="1480"/>
                  </a:cubicBezTo>
                  <a:close/>
                  <a:moveTo>
                    <a:pt x="1022" y="1481"/>
                  </a:moveTo>
                  <a:cubicBezTo>
                    <a:pt x="1023" y="1481"/>
                    <a:pt x="1022" y="1480"/>
                    <a:pt x="1022" y="1481"/>
                  </a:cubicBezTo>
                  <a:close/>
                  <a:moveTo>
                    <a:pt x="516" y="1482"/>
                  </a:moveTo>
                  <a:cubicBezTo>
                    <a:pt x="516" y="1481"/>
                    <a:pt x="517" y="1482"/>
                    <a:pt x="516" y="1482"/>
                  </a:cubicBezTo>
                  <a:close/>
                  <a:moveTo>
                    <a:pt x="1018" y="1482"/>
                  </a:moveTo>
                  <a:cubicBezTo>
                    <a:pt x="1001" y="1486"/>
                    <a:pt x="981" y="1488"/>
                    <a:pt x="966" y="1495"/>
                  </a:cubicBezTo>
                  <a:moveTo>
                    <a:pt x="966" y="1495"/>
                  </a:moveTo>
                  <a:cubicBezTo>
                    <a:pt x="962" y="1494"/>
                    <a:pt x="965" y="1498"/>
                    <a:pt x="966" y="1495"/>
                  </a:cubicBezTo>
                  <a:moveTo>
                    <a:pt x="966" y="1495"/>
                  </a:moveTo>
                  <a:cubicBezTo>
                    <a:pt x="985" y="1493"/>
                    <a:pt x="1002" y="1488"/>
                    <a:pt x="1018" y="1482"/>
                  </a:cubicBezTo>
                  <a:moveTo>
                    <a:pt x="1018" y="1482"/>
                  </a:moveTo>
                  <a:cubicBezTo>
                    <a:pt x="1022" y="1483"/>
                    <a:pt x="1019" y="1479"/>
                    <a:pt x="1018" y="1482"/>
                  </a:cubicBezTo>
                  <a:moveTo>
                    <a:pt x="940" y="1495"/>
                  </a:moveTo>
                  <a:cubicBezTo>
                    <a:pt x="955" y="1492"/>
                    <a:pt x="972" y="1491"/>
                    <a:pt x="980" y="1482"/>
                  </a:cubicBezTo>
                  <a:cubicBezTo>
                    <a:pt x="962" y="1482"/>
                    <a:pt x="950" y="1488"/>
                    <a:pt x="940" y="1495"/>
                  </a:cubicBezTo>
                  <a:close/>
                  <a:moveTo>
                    <a:pt x="681" y="1507"/>
                  </a:moveTo>
                  <a:cubicBezTo>
                    <a:pt x="694" y="1507"/>
                    <a:pt x="707" y="1507"/>
                    <a:pt x="719" y="1509"/>
                  </a:cubicBezTo>
                  <a:cubicBezTo>
                    <a:pt x="726" y="1503"/>
                    <a:pt x="734" y="1498"/>
                    <a:pt x="740" y="1491"/>
                  </a:cubicBezTo>
                  <a:cubicBezTo>
                    <a:pt x="737" y="1491"/>
                    <a:pt x="741" y="1484"/>
                    <a:pt x="738" y="1484"/>
                  </a:cubicBezTo>
                  <a:cubicBezTo>
                    <a:pt x="722" y="1494"/>
                    <a:pt x="700" y="1499"/>
                    <a:pt x="681" y="1507"/>
                  </a:cubicBezTo>
                  <a:close/>
                  <a:moveTo>
                    <a:pt x="876" y="1487"/>
                  </a:moveTo>
                  <a:cubicBezTo>
                    <a:pt x="874" y="1491"/>
                    <a:pt x="871" y="1493"/>
                    <a:pt x="870" y="1498"/>
                  </a:cubicBezTo>
                  <a:cubicBezTo>
                    <a:pt x="900" y="1502"/>
                    <a:pt x="934" y="1501"/>
                    <a:pt x="950" y="1486"/>
                  </a:cubicBezTo>
                  <a:cubicBezTo>
                    <a:pt x="927" y="1487"/>
                    <a:pt x="902" y="1488"/>
                    <a:pt x="876" y="1487"/>
                  </a:cubicBezTo>
                  <a:close/>
                  <a:moveTo>
                    <a:pt x="542" y="1492"/>
                  </a:moveTo>
                  <a:cubicBezTo>
                    <a:pt x="542" y="1492"/>
                    <a:pt x="543" y="1493"/>
                    <a:pt x="542" y="1492"/>
                  </a:cubicBezTo>
                  <a:close/>
                  <a:moveTo>
                    <a:pt x="570" y="1495"/>
                  </a:moveTo>
                  <a:cubicBezTo>
                    <a:pt x="565" y="1495"/>
                    <a:pt x="538" y="1491"/>
                    <a:pt x="548" y="1494"/>
                  </a:cubicBezTo>
                  <a:cubicBezTo>
                    <a:pt x="570" y="1502"/>
                    <a:pt x="600" y="1512"/>
                    <a:pt x="625" y="1510"/>
                  </a:cubicBezTo>
                  <a:cubicBezTo>
                    <a:pt x="606" y="1504"/>
                    <a:pt x="592" y="1498"/>
                    <a:pt x="570" y="1495"/>
                  </a:cubicBezTo>
                  <a:close/>
                  <a:moveTo>
                    <a:pt x="958" y="1495"/>
                  </a:moveTo>
                  <a:cubicBezTo>
                    <a:pt x="949" y="1496"/>
                    <a:pt x="942" y="1497"/>
                    <a:pt x="935" y="1499"/>
                  </a:cubicBezTo>
                  <a:cubicBezTo>
                    <a:pt x="943" y="1498"/>
                    <a:pt x="952" y="1499"/>
                    <a:pt x="958" y="1495"/>
                  </a:cubicBezTo>
                  <a:moveTo>
                    <a:pt x="958" y="1495"/>
                  </a:moveTo>
                  <a:cubicBezTo>
                    <a:pt x="962" y="1496"/>
                    <a:pt x="958" y="1492"/>
                    <a:pt x="958" y="1495"/>
                  </a:cubicBezTo>
                  <a:moveTo>
                    <a:pt x="724" y="1509"/>
                  </a:moveTo>
                  <a:cubicBezTo>
                    <a:pt x="730" y="1509"/>
                    <a:pt x="736" y="1509"/>
                    <a:pt x="742" y="1509"/>
                  </a:cubicBezTo>
                  <a:cubicBezTo>
                    <a:pt x="740" y="1505"/>
                    <a:pt x="741" y="1498"/>
                    <a:pt x="739" y="1495"/>
                  </a:cubicBezTo>
                  <a:cubicBezTo>
                    <a:pt x="735" y="1501"/>
                    <a:pt x="728" y="1504"/>
                    <a:pt x="724" y="1509"/>
                  </a:cubicBezTo>
                  <a:close/>
                  <a:moveTo>
                    <a:pt x="613" y="1499"/>
                  </a:moveTo>
                  <a:cubicBezTo>
                    <a:pt x="615" y="1500"/>
                    <a:pt x="623" y="1501"/>
                    <a:pt x="624" y="1500"/>
                  </a:cubicBezTo>
                  <a:cubicBezTo>
                    <a:pt x="622" y="1496"/>
                    <a:pt x="599" y="1499"/>
                    <a:pt x="613" y="1499"/>
                  </a:cubicBezTo>
                  <a:close/>
                  <a:moveTo>
                    <a:pt x="929" y="1500"/>
                  </a:moveTo>
                  <a:cubicBezTo>
                    <a:pt x="929" y="1500"/>
                    <a:pt x="930" y="1501"/>
                    <a:pt x="929" y="1500"/>
                  </a:cubicBezTo>
                  <a:close/>
                  <a:moveTo>
                    <a:pt x="865" y="1505"/>
                  </a:moveTo>
                  <a:cubicBezTo>
                    <a:pt x="871" y="1503"/>
                    <a:pt x="880" y="1504"/>
                    <a:pt x="886" y="1502"/>
                  </a:cubicBezTo>
                  <a:cubicBezTo>
                    <a:pt x="879" y="1502"/>
                    <a:pt x="867" y="1497"/>
                    <a:pt x="865" y="1505"/>
                  </a:cubicBezTo>
                  <a:close/>
                  <a:moveTo>
                    <a:pt x="608" y="1501"/>
                  </a:moveTo>
                  <a:cubicBezTo>
                    <a:pt x="608" y="1501"/>
                    <a:pt x="607" y="1501"/>
                    <a:pt x="606" y="1502"/>
                  </a:cubicBezTo>
                  <a:cubicBezTo>
                    <a:pt x="607" y="1502"/>
                    <a:pt x="608" y="1502"/>
                    <a:pt x="608" y="1501"/>
                  </a:cubicBezTo>
                  <a:close/>
                  <a:moveTo>
                    <a:pt x="885" y="1514"/>
                  </a:moveTo>
                  <a:cubicBezTo>
                    <a:pt x="909" y="1514"/>
                    <a:pt x="929" y="1509"/>
                    <a:pt x="946" y="1501"/>
                  </a:cubicBezTo>
                  <a:cubicBezTo>
                    <a:pt x="921" y="1500"/>
                    <a:pt x="904" y="1509"/>
                    <a:pt x="885" y="1514"/>
                  </a:cubicBezTo>
                  <a:close/>
                  <a:moveTo>
                    <a:pt x="633" y="1509"/>
                  </a:moveTo>
                  <a:cubicBezTo>
                    <a:pt x="629" y="1504"/>
                    <a:pt x="618" y="1501"/>
                    <a:pt x="609" y="1503"/>
                  </a:cubicBezTo>
                  <a:cubicBezTo>
                    <a:pt x="618" y="1504"/>
                    <a:pt x="626" y="1509"/>
                    <a:pt x="633" y="1509"/>
                  </a:cubicBezTo>
                  <a:close/>
                  <a:moveTo>
                    <a:pt x="858" y="1512"/>
                  </a:moveTo>
                  <a:cubicBezTo>
                    <a:pt x="879" y="1516"/>
                    <a:pt x="896" y="1508"/>
                    <a:pt x="912" y="1503"/>
                  </a:cubicBezTo>
                  <a:cubicBezTo>
                    <a:pt x="893" y="1506"/>
                    <a:pt x="869" y="1502"/>
                    <a:pt x="858" y="1512"/>
                  </a:cubicBezTo>
                  <a:close/>
                  <a:moveTo>
                    <a:pt x="659" y="1507"/>
                  </a:moveTo>
                  <a:cubicBezTo>
                    <a:pt x="650" y="1508"/>
                    <a:pt x="641" y="1503"/>
                    <a:pt x="633" y="1506"/>
                  </a:cubicBezTo>
                  <a:cubicBezTo>
                    <a:pt x="638" y="1512"/>
                    <a:pt x="652" y="1509"/>
                    <a:pt x="659" y="1507"/>
                  </a:cubicBezTo>
                  <a:close/>
                  <a:moveTo>
                    <a:pt x="645" y="1512"/>
                  </a:moveTo>
                  <a:cubicBezTo>
                    <a:pt x="667" y="1518"/>
                    <a:pt x="698" y="1526"/>
                    <a:pt x="714" y="1511"/>
                  </a:cubicBezTo>
                  <a:cubicBezTo>
                    <a:pt x="688" y="1510"/>
                    <a:pt x="666" y="1506"/>
                    <a:pt x="645" y="1512"/>
                  </a:cubicBezTo>
                  <a:close/>
                  <a:moveTo>
                    <a:pt x="845" y="1510"/>
                  </a:moveTo>
                  <a:cubicBezTo>
                    <a:pt x="849" y="1510"/>
                    <a:pt x="855" y="1512"/>
                    <a:pt x="856" y="1508"/>
                  </a:cubicBezTo>
                  <a:cubicBezTo>
                    <a:pt x="852" y="1509"/>
                    <a:pt x="847" y="1508"/>
                    <a:pt x="845" y="1510"/>
                  </a:cubicBezTo>
                  <a:close/>
                  <a:moveTo>
                    <a:pt x="798" y="1512"/>
                  </a:moveTo>
                  <a:cubicBezTo>
                    <a:pt x="808" y="1524"/>
                    <a:pt x="839" y="1525"/>
                    <a:pt x="850" y="1513"/>
                  </a:cubicBezTo>
                  <a:cubicBezTo>
                    <a:pt x="837" y="1508"/>
                    <a:pt x="813" y="1509"/>
                    <a:pt x="798" y="1512"/>
                  </a:cubicBezTo>
                  <a:close/>
                  <a:moveTo>
                    <a:pt x="699" y="1522"/>
                  </a:moveTo>
                  <a:cubicBezTo>
                    <a:pt x="714" y="1522"/>
                    <a:pt x="731" y="1526"/>
                    <a:pt x="746" y="1524"/>
                  </a:cubicBezTo>
                  <a:cubicBezTo>
                    <a:pt x="743" y="1521"/>
                    <a:pt x="744" y="1515"/>
                    <a:pt x="742" y="1511"/>
                  </a:cubicBezTo>
                  <a:cubicBezTo>
                    <a:pt x="721" y="1509"/>
                    <a:pt x="710" y="1514"/>
                    <a:pt x="699" y="1522"/>
                  </a:cubicBezTo>
                  <a:close/>
                  <a:moveTo>
                    <a:pt x="750" y="1525"/>
                  </a:moveTo>
                  <a:cubicBezTo>
                    <a:pt x="753" y="1522"/>
                    <a:pt x="754" y="1517"/>
                    <a:pt x="754" y="1511"/>
                  </a:cubicBezTo>
                  <a:cubicBezTo>
                    <a:pt x="751" y="1511"/>
                    <a:pt x="748" y="1511"/>
                    <a:pt x="745" y="1511"/>
                  </a:cubicBezTo>
                  <a:cubicBezTo>
                    <a:pt x="747" y="1516"/>
                    <a:pt x="745" y="1524"/>
                    <a:pt x="750" y="1525"/>
                  </a:cubicBezTo>
                  <a:close/>
                  <a:moveTo>
                    <a:pt x="790" y="1511"/>
                  </a:moveTo>
                  <a:cubicBezTo>
                    <a:pt x="779" y="1511"/>
                    <a:pt x="768" y="1511"/>
                    <a:pt x="757" y="1511"/>
                  </a:cubicBezTo>
                  <a:cubicBezTo>
                    <a:pt x="757" y="1517"/>
                    <a:pt x="755" y="1520"/>
                    <a:pt x="754" y="1525"/>
                  </a:cubicBezTo>
                  <a:cubicBezTo>
                    <a:pt x="773" y="1525"/>
                    <a:pt x="792" y="1526"/>
                    <a:pt x="807" y="1522"/>
                  </a:cubicBezTo>
                  <a:cubicBezTo>
                    <a:pt x="800" y="1520"/>
                    <a:pt x="797" y="1514"/>
                    <a:pt x="790" y="1511"/>
                  </a:cubicBezTo>
                  <a:close/>
                  <a:moveTo>
                    <a:pt x="852" y="1517"/>
                  </a:moveTo>
                  <a:cubicBezTo>
                    <a:pt x="851" y="1518"/>
                    <a:pt x="852" y="1518"/>
                    <a:pt x="852" y="1517"/>
                  </a:cubicBezTo>
                  <a:moveTo>
                    <a:pt x="852" y="1517"/>
                  </a:moveTo>
                  <a:cubicBezTo>
                    <a:pt x="857" y="1517"/>
                    <a:pt x="861" y="1517"/>
                    <a:pt x="864" y="1515"/>
                  </a:cubicBezTo>
                  <a:cubicBezTo>
                    <a:pt x="859" y="1515"/>
                    <a:pt x="854" y="1513"/>
                    <a:pt x="852" y="1517"/>
                  </a:cubicBezTo>
                  <a:moveTo>
                    <a:pt x="655" y="1518"/>
                  </a:moveTo>
                  <a:cubicBezTo>
                    <a:pt x="655" y="1518"/>
                    <a:pt x="656" y="1519"/>
                    <a:pt x="655" y="1518"/>
                  </a:cubicBezTo>
                  <a:close/>
                  <a:moveTo>
                    <a:pt x="674" y="1522"/>
                  </a:moveTo>
                  <a:cubicBezTo>
                    <a:pt x="679" y="1522"/>
                    <a:pt x="678" y="1522"/>
                    <a:pt x="674" y="1521"/>
                  </a:cubicBezTo>
                  <a:cubicBezTo>
                    <a:pt x="672" y="1521"/>
                    <a:pt x="662" y="1518"/>
                    <a:pt x="658" y="1519"/>
                  </a:cubicBezTo>
                  <a:cubicBezTo>
                    <a:pt x="665" y="1520"/>
                    <a:pt x="671" y="1522"/>
                    <a:pt x="674" y="1522"/>
                  </a:cubicBezTo>
                  <a:close/>
                </a:path>
              </a:pathLst>
            </a:custGeom>
            <a:solidFill>
              <a:srgbClr val="C2C2C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" name="Freeform 9"/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auto">
            <a:xfrm>
              <a:off x="2249488" y="1609725"/>
              <a:ext cx="4640262" cy="4452938"/>
            </a:xfrm>
            <a:custGeom>
              <a:avLst/>
              <a:gdLst/>
              <a:ahLst/>
              <a:cxnLst>
                <a:cxn ang="0">
                  <a:pos x="1157" y="29"/>
                </a:cxn>
                <a:cxn ang="0">
                  <a:pos x="617" y="117"/>
                </a:cxn>
                <a:cxn ang="0">
                  <a:pos x="656" y="178"/>
                </a:cxn>
                <a:cxn ang="0">
                  <a:pos x="239" y="258"/>
                </a:cxn>
                <a:cxn ang="0">
                  <a:pos x="536" y="255"/>
                </a:cxn>
                <a:cxn ang="0">
                  <a:pos x="663" y="454"/>
                </a:cxn>
                <a:cxn ang="0">
                  <a:pos x="900" y="474"/>
                </a:cxn>
                <a:cxn ang="0">
                  <a:pos x="922" y="511"/>
                </a:cxn>
                <a:cxn ang="0">
                  <a:pos x="908" y="527"/>
                </a:cxn>
                <a:cxn ang="0">
                  <a:pos x="895" y="533"/>
                </a:cxn>
                <a:cxn ang="0">
                  <a:pos x="1040" y="559"/>
                </a:cxn>
                <a:cxn ang="0">
                  <a:pos x="1319" y="1342"/>
                </a:cxn>
                <a:cxn ang="0">
                  <a:pos x="1320" y="1379"/>
                </a:cxn>
                <a:cxn ang="0">
                  <a:pos x="576" y="31"/>
                </a:cxn>
                <a:cxn ang="0">
                  <a:pos x="469" y="123"/>
                </a:cxn>
                <a:cxn ang="0">
                  <a:pos x="676" y="54"/>
                </a:cxn>
                <a:cxn ang="0">
                  <a:pos x="618" y="4"/>
                </a:cxn>
                <a:cxn ang="0">
                  <a:pos x="595" y="5"/>
                </a:cxn>
                <a:cxn ang="0">
                  <a:pos x="513" y="46"/>
                </a:cxn>
                <a:cxn ang="0">
                  <a:pos x="422" y="75"/>
                </a:cxn>
                <a:cxn ang="0">
                  <a:pos x="459" y="67"/>
                </a:cxn>
                <a:cxn ang="0">
                  <a:pos x="1681" y="642"/>
                </a:cxn>
                <a:cxn ang="0">
                  <a:pos x="1077" y="36"/>
                </a:cxn>
                <a:cxn ang="0">
                  <a:pos x="1098" y="110"/>
                </a:cxn>
                <a:cxn ang="0">
                  <a:pos x="979" y="117"/>
                </a:cxn>
                <a:cxn ang="0">
                  <a:pos x="948" y="122"/>
                </a:cxn>
                <a:cxn ang="0">
                  <a:pos x="820" y="97"/>
                </a:cxn>
                <a:cxn ang="0">
                  <a:pos x="698" y="200"/>
                </a:cxn>
                <a:cxn ang="0">
                  <a:pos x="828" y="182"/>
                </a:cxn>
                <a:cxn ang="0">
                  <a:pos x="734" y="228"/>
                </a:cxn>
                <a:cxn ang="0">
                  <a:pos x="635" y="272"/>
                </a:cxn>
                <a:cxn ang="0">
                  <a:pos x="593" y="234"/>
                </a:cxn>
                <a:cxn ang="0">
                  <a:pos x="621" y="295"/>
                </a:cxn>
                <a:cxn ang="0">
                  <a:pos x="441" y="441"/>
                </a:cxn>
                <a:cxn ang="0">
                  <a:pos x="621" y="411"/>
                </a:cxn>
                <a:cxn ang="0">
                  <a:pos x="709" y="512"/>
                </a:cxn>
                <a:cxn ang="0">
                  <a:pos x="740" y="381"/>
                </a:cxn>
                <a:cxn ang="0">
                  <a:pos x="870" y="536"/>
                </a:cxn>
                <a:cxn ang="0">
                  <a:pos x="911" y="470"/>
                </a:cxn>
                <a:cxn ang="0">
                  <a:pos x="1059" y="616"/>
                </a:cxn>
                <a:cxn ang="0">
                  <a:pos x="834" y="603"/>
                </a:cxn>
                <a:cxn ang="0">
                  <a:pos x="677" y="539"/>
                </a:cxn>
                <a:cxn ang="0">
                  <a:pos x="369" y="587"/>
                </a:cxn>
                <a:cxn ang="0">
                  <a:pos x="215" y="834"/>
                </a:cxn>
                <a:cxn ang="0">
                  <a:pos x="317" y="1065"/>
                </a:cxn>
                <a:cxn ang="0">
                  <a:pos x="592" y="1115"/>
                </a:cxn>
                <a:cxn ang="0">
                  <a:pos x="681" y="1291"/>
                </a:cxn>
                <a:cxn ang="0">
                  <a:pos x="733" y="1503"/>
                </a:cxn>
                <a:cxn ang="0">
                  <a:pos x="1016" y="1556"/>
                </a:cxn>
                <a:cxn ang="0">
                  <a:pos x="1197" y="1373"/>
                </a:cxn>
                <a:cxn ang="0">
                  <a:pos x="1271" y="1154"/>
                </a:cxn>
                <a:cxn ang="0">
                  <a:pos x="1311" y="967"/>
                </a:cxn>
                <a:cxn ang="0">
                  <a:pos x="1135" y="797"/>
                </a:cxn>
                <a:cxn ang="0">
                  <a:pos x="1197" y="810"/>
                </a:cxn>
                <a:cxn ang="0">
                  <a:pos x="1447" y="788"/>
                </a:cxn>
                <a:cxn ang="0">
                  <a:pos x="1277" y="635"/>
                </a:cxn>
                <a:cxn ang="0">
                  <a:pos x="1531" y="652"/>
                </a:cxn>
                <a:cxn ang="0">
                  <a:pos x="1658" y="862"/>
                </a:cxn>
                <a:cxn ang="0">
                  <a:pos x="1038" y="440"/>
                </a:cxn>
                <a:cxn ang="0">
                  <a:pos x="991" y="389"/>
                </a:cxn>
                <a:cxn ang="0">
                  <a:pos x="1099" y="418"/>
                </a:cxn>
                <a:cxn ang="0">
                  <a:pos x="287" y="206"/>
                </a:cxn>
                <a:cxn ang="0">
                  <a:pos x="50" y="1063"/>
                </a:cxn>
              </a:cxnLst>
              <a:rect l="0" t="0" r="r" b="b"/>
              <a:pathLst>
                <a:path w="1683" h="1609">
                  <a:moveTo>
                    <a:pt x="1008" y="20"/>
                  </a:moveTo>
                  <a:cubicBezTo>
                    <a:pt x="1021" y="27"/>
                    <a:pt x="1028" y="27"/>
                    <a:pt x="1045" y="29"/>
                  </a:cubicBezTo>
                  <a:cubicBezTo>
                    <a:pt x="1035" y="22"/>
                    <a:pt x="1023" y="21"/>
                    <a:pt x="1008" y="20"/>
                  </a:cubicBezTo>
                  <a:close/>
                  <a:moveTo>
                    <a:pt x="1146" y="26"/>
                  </a:moveTo>
                  <a:cubicBezTo>
                    <a:pt x="1143" y="26"/>
                    <a:pt x="1143" y="22"/>
                    <a:pt x="1141" y="21"/>
                  </a:cubicBezTo>
                  <a:cubicBezTo>
                    <a:pt x="1142" y="21"/>
                    <a:pt x="1146" y="24"/>
                    <a:pt x="1147" y="21"/>
                  </a:cubicBezTo>
                  <a:cubicBezTo>
                    <a:pt x="1138" y="19"/>
                    <a:pt x="1136" y="20"/>
                    <a:pt x="1128" y="22"/>
                  </a:cubicBezTo>
                  <a:cubicBezTo>
                    <a:pt x="1134" y="24"/>
                    <a:pt x="1139" y="27"/>
                    <a:pt x="1146" y="26"/>
                  </a:cubicBezTo>
                  <a:close/>
                  <a:moveTo>
                    <a:pt x="1063" y="27"/>
                  </a:moveTo>
                  <a:cubicBezTo>
                    <a:pt x="1057" y="27"/>
                    <a:pt x="1049" y="23"/>
                    <a:pt x="1045" y="25"/>
                  </a:cubicBezTo>
                  <a:cubicBezTo>
                    <a:pt x="1050" y="26"/>
                    <a:pt x="1053" y="31"/>
                    <a:pt x="1059" y="32"/>
                  </a:cubicBezTo>
                  <a:cubicBezTo>
                    <a:pt x="1060" y="30"/>
                    <a:pt x="1063" y="30"/>
                    <a:pt x="1063" y="27"/>
                  </a:cubicBezTo>
                  <a:close/>
                  <a:moveTo>
                    <a:pt x="1157" y="29"/>
                  </a:moveTo>
                  <a:cubicBezTo>
                    <a:pt x="1159" y="30"/>
                    <a:pt x="1161" y="30"/>
                    <a:pt x="1163" y="31"/>
                  </a:cubicBezTo>
                  <a:cubicBezTo>
                    <a:pt x="1163" y="28"/>
                    <a:pt x="1158" y="27"/>
                    <a:pt x="1157" y="29"/>
                  </a:cubicBezTo>
                  <a:close/>
                  <a:moveTo>
                    <a:pt x="966" y="79"/>
                  </a:moveTo>
                  <a:cubicBezTo>
                    <a:pt x="979" y="79"/>
                    <a:pt x="987" y="91"/>
                    <a:pt x="1000" y="85"/>
                  </a:cubicBezTo>
                  <a:cubicBezTo>
                    <a:pt x="983" y="83"/>
                    <a:pt x="971" y="65"/>
                    <a:pt x="984" y="55"/>
                  </a:cubicBezTo>
                  <a:cubicBezTo>
                    <a:pt x="988" y="52"/>
                    <a:pt x="993" y="54"/>
                    <a:pt x="996" y="49"/>
                  </a:cubicBezTo>
                  <a:cubicBezTo>
                    <a:pt x="992" y="41"/>
                    <a:pt x="983" y="46"/>
                    <a:pt x="978" y="50"/>
                  </a:cubicBezTo>
                  <a:cubicBezTo>
                    <a:pt x="970" y="49"/>
                    <a:pt x="966" y="53"/>
                    <a:pt x="962" y="58"/>
                  </a:cubicBezTo>
                  <a:cubicBezTo>
                    <a:pt x="969" y="61"/>
                    <a:pt x="963" y="73"/>
                    <a:pt x="966" y="79"/>
                  </a:cubicBezTo>
                  <a:close/>
                  <a:moveTo>
                    <a:pt x="1026" y="63"/>
                  </a:moveTo>
                  <a:cubicBezTo>
                    <a:pt x="1029" y="64"/>
                    <a:pt x="1031" y="68"/>
                    <a:pt x="1033" y="64"/>
                  </a:cubicBezTo>
                  <a:cubicBezTo>
                    <a:pt x="1032" y="63"/>
                    <a:pt x="1028" y="61"/>
                    <a:pt x="1026" y="63"/>
                  </a:cubicBezTo>
                  <a:close/>
                  <a:moveTo>
                    <a:pt x="1025" y="92"/>
                  </a:moveTo>
                  <a:cubicBezTo>
                    <a:pt x="1021" y="90"/>
                    <a:pt x="1015" y="86"/>
                    <a:pt x="1011" y="88"/>
                  </a:cubicBezTo>
                  <a:cubicBezTo>
                    <a:pt x="1014" y="90"/>
                    <a:pt x="1020" y="94"/>
                    <a:pt x="1025" y="92"/>
                  </a:cubicBezTo>
                  <a:close/>
                  <a:moveTo>
                    <a:pt x="618" y="123"/>
                  </a:moveTo>
                  <a:cubicBezTo>
                    <a:pt x="612" y="123"/>
                    <a:pt x="617" y="119"/>
                    <a:pt x="617" y="117"/>
                  </a:cubicBezTo>
                  <a:cubicBezTo>
                    <a:pt x="614" y="117"/>
                    <a:pt x="614" y="116"/>
                    <a:pt x="614" y="114"/>
                  </a:cubicBezTo>
                  <a:cubicBezTo>
                    <a:pt x="605" y="120"/>
                    <a:pt x="599" y="113"/>
                    <a:pt x="590" y="118"/>
                  </a:cubicBezTo>
                  <a:cubicBezTo>
                    <a:pt x="590" y="117"/>
                    <a:pt x="590" y="115"/>
                    <a:pt x="589" y="115"/>
                  </a:cubicBezTo>
                  <a:cubicBezTo>
                    <a:pt x="588" y="118"/>
                    <a:pt x="582" y="120"/>
                    <a:pt x="580" y="119"/>
                  </a:cubicBezTo>
                  <a:cubicBezTo>
                    <a:pt x="582" y="117"/>
                    <a:pt x="585" y="116"/>
                    <a:pt x="584" y="111"/>
                  </a:cubicBezTo>
                  <a:cubicBezTo>
                    <a:pt x="577" y="113"/>
                    <a:pt x="569" y="115"/>
                    <a:pt x="565" y="119"/>
                  </a:cubicBezTo>
                  <a:cubicBezTo>
                    <a:pt x="568" y="121"/>
                    <a:pt x="572" y="116"/>
                    <a:pt x="574" y="119"/>
                  </a:cubicBezTo>
                  <a:cubicBezTo>
                    <a:pt x="573" y="125"/>
                    <a:pt x="562" y="121"/>
                    <a:pt x="559" y="125"/>
                  </a:cubicBezTo>
                  <a:cubicBezTo>
                    <a:pt x="563" y="124"/>
                    <a:pt x="564" y="126"/>
                    <a:pt x="566" y="129"/>
                  </a:cubicBezTo>
                  <a:cubicBezTo>
                    <a:pt x="563" y="133"/>
                    <a:pt x="556" y="128"/>
                    <a:pt x="555" y="134"/>
                  </a:cubicBezTo>
                  <a:cubicBezTo>
                    <a:pt x="559" y="135"/>
                    <a:pt x="561" y="134"/>
                    <a:pt x="564" y="133"/>
                  </a:cubicBezTo>
                  <a:cubicBezTo>
                    <a:pt x="564" y="137"/>
                    <a:pt x="567" y="137"/>
                    <a:pt x="568" y="140"/>
                  </a:cubicBezTo>
                  <a:cubicBezTo>
                    <a:pt x="584" y="136"/>
                    <a:pt x="608" y="137"/>
                    <a:pt x="618" y="123"/>
                  </a:cubicBezTo>
                  <a:close/>
                  <a:moveTo>
                    <a:pt x="651" y="184"/>
                  </a:moveTo>
                  <a:cubicBezTo>
                    <a:pt x="654" y="184"/>
                    <a:pt x="656" y="182"/>
                    <a:pt x="656" y="178"/>
                  </a:cubicBezTo>
                  <a:cubicBezTo>
                    <a:pt x="653" y="178"/>
                    <a:pt x="651" y="180"/>
                    <a:pt x="651" y="184"/>
                  </a:cubicBezTo>
                  <a:close/>
                  <a:moveTo>
                    <a:pt x="635" y="196"/>
                  </a:moveTo>
                  <a:cubicBezTo>
                    <a:pt x="634" y="194"/>
                    <a:pt x="634" y="192"/>
                    <a:pt x="633" y="191"/>
                  </a:cubicBezTo>
                  <a:cubicBezTo>
                    <a:pt x="631" y="192"/>
                    <a:pt x="631" y="196"/>
                    <a:pt x="635" y="196"/>
                  </a:cubicBezTo>
                  <a:close/>
                  <a:moveTo>
                    <a:pt x="604" y="197"/>
                  </a:moveTo>
                  <a:cubicBezTo>
                    <a:pt x="601" y="200"/>
                    <a:pt x="595" y="199"/>
                    <a:pt x="595" y="204"/>
                  </a:cubicBezTo>
                  <a:cubicBezTo>
                    <a:pt x="601" y="205"/>
                    <a:pt x="606" y="201"/>
                    <a:pt x="604" y="197"/>
                  </a:cubicBezTo>
                  <a:close/>
                  <a:moveTo>
                    <a:pt x="595" y="213"/>
                  </a:moveTo>
                  <a:cubicBezTo>
                    <a:pt x="599" y="213"/>
                    <a:pt x="599" y="210"/>
                    <a:pt x="599" y="207"/>
                  </a:cubicBezTo>
                  <a:cubicBezTo>
                    <a:pt x="595" y="207"/>
                    <a:pt x="593" y="211"/>
                    <a:pt x="595" y="213"/>
                  </a:cubicBezTo>
                  <a:close/>
                  <a:moveTo>
                    <a:pt x="280" y="210"/>
                  </a:moveTo>
                  <a:cubicBezTo>
                    <a:pt x="262" y="220"/>
                    <a:pt x="248" y="231"/>
                    <a:pt x="232" y="242"/>
                  </a:cubicBezTo>
                  <a:cubicBezTo>
                    <a:pt x="234" y="251"/>
                    <a:pt x="231" y="253"/>
                    <a:pt x="227" y="259"/>
                  </a:cubicBezTo>
                  <a:cubicBezTo>
                    <a:pt x="232" y="260"/>
                    <a:pt x="226" y="264"/>
                    <a:pt x="227" y="266"/>
                  </a:cubicBezTo>
                  <a:cubicBezTo>
                    <a:pt x="232" y="265"/>
                    <a:pt x="235" y="261"/>
                    <a:pt x="239" y="258"/>
                  </a:cubicBezTo>
                  <a:cubicBezTo>
                    <a:pt x="241" y="246"/>
                    <a:pt x="254" y="245"/>
                    <a:pt x="258" y="235"/>
                  </a:cubicBezTo>
                  <a:cubicBezTo>
                    <a:pt x="257" y="234"/>
                    <a:pt x="255" y="238"/>
                    <a:pt x="255" y="235"/>
                  </a:cubicBezTo>
                  <a:cubicBezTo>
                    <a:pt x="261" y="225"/>
                    <a:pt x="272" y="219"/>
                    <a:pt x="280" y="210"/>
                  </a:cubicBezTo>
                  <a:close/>
                  <a:moveTo>
                    <a:pt x="252" y="214"/>
                  </a:moveTo>
                  <a:cubicBezTo>
                    <a:pt x="250" y="216"/>
                    <a:pt x="245" y="220"/>
                    <a:pt x="248" y="224"/>
                  </a:cubicBezTo>
                  <a:cubicBezTo>
                    <a:pt x="250" y="221"/>
                    <a:pt x="254" y="217"/>
                    <a:pt x="252" y="214"/>
                  </a:cubicBezTo>
                  <a:close/>
                  <a:moveTo>
                    <a:pt x="520" y="272"/>
                  </a:moveTo>
                  <a:cubicBezTo>
                    <a:pt x="521" y="276"/>
                    <a:pt x="521" y="277"/>
                    <a:pt x="522" y="280"/>
                  </a:cubicBezTo>
                  <a:cubicBezTo>
                    <a:pt x="540" y="274"/>
                    <a:pt x="569" y="277"/>
                    <a:pt x="570" y="252"/>
                  </a:cubicBezTo>
                  <a:cubicBezTo>
                    <a:pt x="576" y="249"/>
                    <a:pt x="586" y="246"/>
                    <a:pt x="582" y="235"/>
                  </a:cubicBezTo>
                  <a:cubicBezTo>
                    <a:pt x="572" y="230"/>
                    <a:pt x="564" y="233"/>
                    <a:pt x="556" y="239"/>
                  </a:cubicBezTo>
                  <a:cubicBezTo>
                    <a:pt x="556" y="241"/>
                    <a:pt x="557" y="241"/>
                    <a:pt x="557" y="243"/>
                  </a:cubicBezTo>
                  <a:cubicBezTo>
                    <a:pt x="554" y="243"/>
                    <a:pt x="554" y="245"/>
                    <a:pt x="551" y="245"/>
                  </a:cubicBezTo>
                  <a:cubicBezTo>
                    <a:pt x="549" y="244"/>
                    <a:pt x="549" y="241"/>
                    <a:pt x="546" y="242"/>
                  </a:cubicBezTo>
                  <a:cubicBezTo>
                    <a:pt x="542" y="246"/>
                    <a:pt x="538" y="250"/>
                    <a:pt x="536" y="255"/>
                  </a:cubicBezTo>
                  <a:cubicBezTo>
                    <a:pt x="536" y="258"/>
                    <a:pt x="540" y="256"/>
                    <a:pt x="540" y="259"/>
                  </a:cubicBezTo>
                  <a:cubicBezTo>
                    <a:pt x="532" y="263"/>
                    <a:pt x="527" y="268"/>
                    <a:pt x="520" y="272"/>
                  </a:cubicBezTo>
                  <a:close/>
                  <a:moveTo>
                    <a:pt x="591" y="247"/>
                  </a:moveTo>
                  <a:cubicBezTo>
                    <a:pt x="588" y="244"/>
                    <a:pt x="585" y="248"/>
                    <a:pt x="585" y="251"/>
                  </a:cubicBezTo>
                  <a:cubicBezTo>
                    <a:pt x="588" y="251"/>
                    <a:pt x="589" y="249"/>
                    <a:pt x="591" y="247"/>
                  </a:cubicBezTo>
                  <a:close/>
                  <a:moveTo>
                    <a:pt x="212" y="259"/>
                  </a:moveTo>
                  <a:cubicBezTo>
                    <a:pt x="216" y="258"/>
                    <a:pt x="220" y="253"/>
                    <a:pt x="219" y="251"/>
                  </a:cubicBezTo>
                  <a:cubicBezTo>
                    <a:pt x="218" y="254"/>
                    <a:pt x="213" y="255"/>
                    <a:pt x="212" y="259"/>
                  </a:cubicBezTo>
                  <a:close/>
                  <a:moveTo>
                    <a:pt x="673" y="447"/>
                  </a:moveTo>
                  <a:cubicBezTo>
                    <a:pt x="678" y="442"/>
                    <a:pt x="685" y="428"/>
                    <a:pt x="678" y="420"/>
                  </a:cubicBezTo>
                  <a:cubicBezTo>
                    <a:pt x="670" y="427"/>
                    <a:pt x="664" y="431"/>
                    <a:pt x="666" y="444"/>
                  </a:cubicBezTo>
                  <a:cubicBezTo>
                    <a:pt x="669" y="445"/>
                    <a:pt x="669" y="448"/>
                    <a:pt x="673" y="447"/>
                  </a:cubicBezTo>
                  <a:close/>
                  <a:moveTo>
                    <a:pt x="654" y="488"/>
                  </a:moveTo>
                  <a:cubicBezTo>
                    <a:pt x="663" y="487"/>
                    <a:pt x="664" y="483"/>
                    <a:pt x="671" y="485"/>
                  </a:cubicBezTo>
                  <a:cubicBezTo>
                    <a:pt x="677" y="471"/>
                    <a:pt x="685" y="438"/>
                    <a:pt x="663" y="454"/>
                  </a:cubicBezTo>
                  <a:cubicBezTo>
                    <a:pt x="660" y="453"/>
                    <a:pt x="658" y="450"/>
                    <a:pt x="656" y="452"/>
                  </a:cubicBezTo>
                  <a:cubicBezTo>
                    <a:pt x="654" y="456"/>
                    <a:pt x="658" y="457"/>
                    <a:pt x="658" y="461"/>
                  </a:cubicBezTo>
                  <a:cubicBezTo>
                    <a:pt x="658" y="469"/>
                    <a:pt x="651" y="479"/>
                    <a:pt x="654" y="488"/>
                  </a:cubicBezTo>
                  <a:close/>
                  <a:moveTo>
                    <a:pt x="602" y="468"/>
                  </a:moveTo>
                  <a:cubicBezTo>
                    <a:pt x="603" y="464"/>
                    <a:pt x="597" y="462"/>
                    <a:pt x="594" y="465"/>
                  </a:cubicBezTo>
                  <a:cubicBezTo>
                    <a:pt x="595" y="468"/>
                    <a:pt x="599" y="471"/>
                    <a:pt x="602" y="468"/>
                  </a:cubicBezTo>
                  <a:close/>
                  <a:moveTo>
                    <a:pt x="590" y="468"/>
                  </a:moveTo>
                  <a:cubicBezTo>
                    <a:pt x="587" y="463"/>
                    <a:pt x="577" y="465"/>
                    <a:pt x="575" y="470"/>
                  </a:cubicBezTo>
                  <a:cubicBezTo>
                    <a:pt x="578" y="477"/>
                    <a:pt x="590" y="478"/>
                    <a:pt x="590" y="468"/>
                  </a:cubicBezTo>
                  <a:close/>
                  <a:moveTo>
                    <a:pt x="880" y="468"/>
                  </a:moveTo>
                  <a:cubicBezTo>
                    <a:pt x="879" y="472"/>
                    <a:pt x="883" y="470"/>
                    <a:pt x="884" y="470"/>
                  </a:cubicBezTo>
                  <a:cubicBezTo>
                    <a:pt x="885" y="468"/>
                    <a:pt x="881" y="467"/>
                    <a:pt x="880" y="468"/>
                  </a:cubicBezTo>
                  <a:close/>
                  <a:moveTo>
                    <a:pt x="900" y="474"/>
                  </a:moveTo>
                  <a:cubicBezTo>
                    <a:pt x="898" y="473"/>
                    <a:pt x="894" y="473"/>
                    <a:pt x="893" y="474"/>
                  </a:cubicBezTo>
                  <a:cubicBezTo>
                    <a:pt x="892" y="480"/>
                    <a:pt x="900" y="479"/>
                    <a:pt x="900" y="474"/>
                  </a:cubicBezTo>
                  <a:close/>
                  <a:moveTo>
                    <a:pt x="563" y="477"/>
                  </a:moveTo>
                  <a:cubicBezTo>
                    <a:pt x="561" y="477"/>
                    <a:pt x="560" y="477"/>
                    <a:pt x="559" y="476"/>
                  </a:cubicBezTo>
                  <a:cubicBezTo>
                    <a:pt x="558" y="478"/>
                    <a:pt x="555" y="480"/>
                    <a:pt x="557" y="483"/>
                  </a:cubicBezTo>
                  <a:cubicBezTo>
                    <a:pt x="560" y="482"/>
                    <a:pt x="563" y="481"/>
                    <a:pt x="563" y="477"/>
                  </a:cubicBezTo>
                  <a:close/>
                  <a:moveTo>
                    <a:pt x="826" y="506"/>
                  </a:moveTo>
                  <a:cubicBezTo>
                    <a:pt x="828" y="507"/>
                    <a:pt x="832" y="508"/>
                    <a:pt x="834" y="506"/>
                  </a:cubicBezTo>
                  <a:cubicBezTo>
                    <a:pt x="834" y="501"/>
                    <a:pt x="825" y="499"/>
                    <a:pt x="826" y="506"/>
                  </a:cubicBezTo>
                  <a:close/>
                  <a:moveTo>
                    <a:pt x="830" y="510"/>
                  </a:moveTo>
                  <a:cubicBezTo>
                    <a:pt x="830" y="515"/>
                    <a:pt x="830" y="515"/>
                    <a:pt x="830" y="515"/>
                  </a:cubicBezTo>
                  <a:cubicBezTo>
                    <a:pt x="835" y="519"/>
                    <a:pt x="836" y="510"/>
                    <a:pt x="832" y="509"/>
                  </a:cubicBezTo>
                  <a:cubicBezTo>
                    <a:pt x="831" y="510"/>
                    <a:pt x="831" y="510"/>
                    <a:pt x="830" y="510"/>
                  </a:cubicBezTo>
                  <a:close/>
                  <a:moveTo>
                    <a:pt x="892" y="511"/>
                  </a:moveTo>
                  <a:cubicBezTo>
                    <a:pt x="895" y="513"/>
                    <a:pt x="895" y="518"/>
                    <a:pt x="899" y="515"/>
                  </a:cubicBezTo>
                  <a:cubicBezTo>
                    <a:pt x="900" y="511"/>
                    <a:pt x="893" y="507"/>
                    <a:pt x="892" y="511"/>
                  </a:cubicBezTo>
                  <a:close/>
                  <a:moveTo>
                    <a:pt x="922" y="511"/>
                  </a:moveTo>
                  <a:cubicBezTo>
                    <a:pt x="922" y="512"/>
                    <a:pt x="920" y="513"/>
                    <a:pt x="921" y="515"/>
                  </a:cubicBezTo>
                  <a:cubicBezTo>
                    <a:pt x="922" y="516"/>
                    <a:pt x="925" y="516"/>
                    <a:pt x="927" y="515"/>
                  </a:cubicBezTo>
                  <a:cubicBezTo>
                    <a:pt x="926" y="512"/>
                    <a:pt x="925" y="510"/>
                    <a:pt x="922" y="511"/>
                  </a:cubicBezTo>
                  <a:close/>
                  <a:moveTo>
                    <a:pt x="915" y="515"/>
                  </a:moveTo>
                  <a:cubicBezTo>
                    <a:pt x="912" y="514"/>
                    <a:pt x="911" y="515"/>
                    <a:pt x="911" y="518"/>
                  </a:cubicBezTo>
                  <a:cubicBezTo>
                    <a:pt x="915" y="518"/>
                    <a:pt x="915" y="518"/>
                    <a:pt x="915" y="518"/>
                  </a:cubicBezTo>
                  <a:lnTo>
                    <a:pt x="915" y="515"/>
                  </a:lnTo>
                  <a:close/>
                  <a:moveTo>
                    <a:pt x="890" y="517"/>
                  </a:moveTo>
                  <a:cubicBezTo>
                    <a:pt x="889" y="516"/>
                    <a:pt x="886" y="514"/>
                    <a:pt x="884" y="516"/>
                  </a:cubicBezTo>
                  <a:cubicBezTo>
                    <a:pt x="884" y="518"/>
                    <a:pt x="885" y="519"/>
                    <a:pt x="885" y="519"/>
                  </a:cubicBezTo>
                  <a:cubicBezTo>
                    <a:pt x="888" y="519"/>
                    <a:pt x="889" y="519"/>
                    <a:pt x="890" y="517"/>
                  </a:cubicBezTo>
                  <a:close/>
                  <a:moveTo>
                    <a:pt x="923" y="522"/>
                  </a:moveTo>
                  <a:cubicBezTo>
                    <a:pt x="925" y="522"/>
                    <a:pt x="927" y="522"/>
                    <a:pt x="927" y="519"/>
                  </a:cubicBezTo>
                  <a:cubicBezTo>
                    <a:pt x="924" y="519"/>
                    <a:pt x="923" y="520"/>
                    <a:pt x="923" y="522"/>
                  </a:cubicBezTo>
                  <a:close/>
                  <a:moveTo>
                    <a:pt x="908" y="527"/>
                  </a:moveTo>
                  <a:cubicBezTo>
                    <a:pt x="910" y="522"/>
                    <a:pt x="906" y="522"/>
                    <a:pt x="903" y="521"/>
                  </a:cubicBezTo>
                  <a:cubicBezTo>
                    <a:pt x="901" y="523"/>
                    <a:pt x="902" y="526"/>
                    <a:pt x="903" y="528"/>
                  </a:cubicBezTo>
                  <a:cubicBezTo>
                    <a:pt x="905" y="528"/>
                    <a:pt x="907" y="528"/>
                    <a:pt x="908" y="527"/>
                  </a:cubicBezTo>
                  <a:close/>
                  <a:moveTo>
                    <a:pt x="929" y="531"/>
                  </a:moveTo>
                  <a:cubicBezTo>
                    <a:pt x="933" y="531"/>
                    <a:pt x="936" y="529"/>
                    <a:pt x="936" y="524"/>
                  </a:cubicBezTo>
                  <a:cubicBezTo>
                    <a:pt x="931" y="524"/>
                    <a:pt x="928" y="525"/>
                    <a:pt x="929" y="531"/>
                  </a:cubicBezTo>
                  <a:close/>
                  <a:moveTo>
                    <a:pt x="916" y="534"/>
                  </a:moveTo>
                  <a:cubicBezTo>
                    <a:pt x="920" y="537"/>
                    <a:pt x="926" y="533"/>
                    <a:pt x="920" y="531"/>
                  </a:cubicBezTo>
                  <a:cubicBezTo>
                    <a:pt x="920" y="533"/>
                    <a:pt x="916" y="531"/>
                    <a:pt x="916" y="534"/>
                  </a:cubicBezTo>
                  <a:close/>
                  <a:moveTo>
                    <a:pt x="898" y="536"/>
                  </a:moveTo>
                  <a:cubicBezTo>
                    <a:pt x="898" y="535"/>
                    <a:pt x="898" y="535"/>
                    <a:pt x="899" y="535"/>
                  </a:cubicBezTo>
                  <a:cubicBezTo>
                    <a:pt x="899" y="533"/>
                    <a:pt x="899" y="533"/>
                    <a:pt x="899" y="533"/>
                  </a:cubicBezTo>
                  <a:cubicBezTo>
                    <a:pt x="898" y="533"/>
                    <a:pt x="898" y="533"/>
                    <a:pt x="898" y="532"/>
                  </a:cubicBezTo>
                  <a:cubicBezTo>
                    <a:pt x="896" y="532"/>
                    <a:pt x="896" y="532"/>
                    <a:pt x="896" y="532"/>
                  </a:cubicBezTo>
                  <a:cubicBezTo>
                    <a:pt x="896" y="532"/>
                    <a:pt x="896" y="533"/>
                    <a:pt x="895" y="533"/>
                  </a:cubicBezTo>
                  <a:cubicBezTo>
                    <a:pt x="895" y="535"/>
                    <a:pt x="895" y="535"/>
                    <a:pt x="895" y="535"/>
                  </a:cubicBezTo>
                  <a:cubicBezTo>
                    <a:pt x="896" y="535"/>
                    <a:pt x="896" y="535"/>
                    <a:pt x="896" y="536"/>
                  </a:cubicBezTo>
                  <a:lnTo>
                    <a:pt x="898" y="536"/>
                  </a:lnTo>
                  <a:close/>
                  <a:moveTo>
                    <a:pt x="948" y="535"/>
                  </a:moveTo>
                  <a:cubicBezTo>
                    <a:pt x="942" y="531"/>
                    <a:pt x="937" y="543"/>
                    <a:pt x="943" y="545"/>
                  </a:cubicBezTo>
                  <a:cubicBezTo>
                    <a:pt x="945" y="542"/>
                    <a:pt x="948" y="540"/>
                    <a:pt x="948" y="535"/>
                  </a:cubicBezTo>
                  <a:close/>
                  <a:moveTo>
                    <a:pt x="738" y="546"/>
                  </a:moveTo>
                  <a:cubicBezTo>
                    <a:pt x="742" y="530"/>
                    <a:pt x="721" y="544"/>
                    <a:pt x="738" y="546"/>
                  </a:cubicBezTo>
                  <a:close/>
                  <a:moveTo>
                    <a:pt x="871" y="540"/>
                  </a:moveTo>
                  <a:cubicBezTo>
                    <a:pt x="870" y="538"/>
                    <a:pt x="866" y="538"/>
                    <a:pt x="864" y="539"/>
                  </a:cubicBezTo>
                  <a:cubicBezTo>
                    <a:pt x="863" y="543"/>
                    <a:pt x="871" y="543"/>
                    <a:pt x="871" y="540"/>
                  </a:cubicBezTo>
                  <a:close/>
                  <a:moveTo>
                    <a:pt x="931" y="546"/>
                  </a:moveTo>
                  <a:cubicBezTo>
                    <a:pt x="931" y="549"/>
                    <a:pt x="928" y="555"/>
                    <a:pt x="933" y="555"/>
                  </a:cubicBezTo>
                  <a:cubicBezTo>
                    <a:pt x="937" y="554"/>
                    <a:pt x="935" y="546"/>
                    <a:pt x="931" y="546"/>
                  </a:cubicBezTo>
                  <a:close/>
                  <a:moveTo>
                    <a:pt x="1040" y="559"/>
                  </a:moveTo>
                  <a:cubicBezTo>
                    <a:pt x="1041" y="555"/>
                    <a:pt x="1041" y="550"/>
                    <a:pt x="1043" y="546"/>
                  </a:cubicBezTo>
                  <a:cubicBezTo>
                    <a:pt x="1033" y="551"/>
                    <a:pt x="1019" y="551"/>
                    <a:pt x="1011" y="557"/>
                  </a:cubicBezTo>
                  <a:cubicBezTo>
                    <a:pt x="1017" y="570"/>
                    <a:pt x="1029" y="563"/>
                    <a:pt x="1040" y="559"/>
                  </a:cubicBezTo>
                  <a:close/>
                  <a:moveTo>
                    <a:pt x="879" y="557"/>
                  </a:moveTo>
                  <a:cubicBezTo>
                    <a:pt x="888" y="556"/>
                    <a:pt x="895" y="564"/>
                    <a:pt x="901" y="564"/>
                  </a:cubicBezTo>
                  <a:cubicBezTo>
                    <a:pt x="907" y="565"/>
                    <a:pt x="915" y="562"/>
                    <a:pt x="921" y="560"/>
                  </a:cubicBezTo>
                  <a:cubicBezTo>
                    <a:pt x="921" y="557"/>
                    <a:pt x="921" y="557"/>
                    <a:pt x="921" y="557"/>
                  </a:cubicBezTo>
                  <a:cubicBezTo>
                    <a:pt x="909" y="556"/>
                    <a:pt x="890" y="552"/>
                    <a:pt x="880" y="550"/>
                  </a:cubicBezTo>
                  <a:cubicBezTo>
                    <a:pt x="877" y="551"/>
                    <a:pt x="878" y="554"/>
                    <a:pt x="879" y="557"/>
                  </a:cubicBezTo>
                  <a:close/>
                  <a:moveTo>
                    <a:pt x="1674" y="879"/>
                  </a:moveTo>
                  <a:cubicBezTo>
                    <a:pt x="1683" y="865"/>
                    <a:pt x="1681" y="833"/>
                    <a:pt x="1670" y="822"/>
                  </a:cubicBezTo>
                  <a:cubicBezTo>
                    <a:pt x="1671" y="839"/>
                    <a:pt x="1667" y="864"/>
                    <a:pt x="1674" y="879"/>
                  </a:cubicBezTo>
                  <a:close/>
                  <a:moveTo>
                    <a:pt x="1346" y="1324"/>
                  </a:moveTo>
                  <a:cubicBezTo>
                    <a:pt x="1340" y="1316"/>
                    <a:pt x="1334" y="1319"/>
                    <a:pt x="1330" y="1326"/>
                  </a:cubicBezTo>
                  <a:cubicBezTo>
                    <a:pt x="1326" y="1332"/>
                    <a:pt x="1326" y="1337"/>
                    <a:pt x="1319" y="1342"/>
                  </a:cubicBezTo>
                  <a:cubicBezTo>
                    <a:pt x="1316" y="1344"/>
                    <a:pt x="1314" y="1344"/>
                    <a:pt x="1311" y="1347"/>
                  </a:cubicBezTo>
                  <a:cubicBezTo>
                    <a:pt x="1310" y="1350"/>
                    <a:pt x="1310" y="1355"/>
                    <a:pt x="1307" y="1357"/>
                  </a:cubicBezTo>
                  <a:cubicBezTo>
                    <a:pt x="1299" y="1352"/>
                    <a:pt x="1299" y="1365"/>
                    <a:pt x="1294" y="1369"/>
                  </a:cubicBezTo>
                  <a:cubicBezTo>
                    <a:pt x="1293" y="1369"/>
                    <a:pt x="1294" y="1366"/>
                    <a:pt x="1290" y="1367"/>
                  </a:cubicBezTo>
                  <a:cubicBezTo>
                    <a:pt x="1290" y="1370"/>
                    <a:pt x="1289" y="1373"/>
                    <a:pt x="1288" y="1375"/>
                  </a:cubicBezTo>
                  <a:cubicBezTo>
                    <a:pt x="1274" y="1380"/>
                    <a:pt x="1261" y="1387"/>
                    <a:pt x="1246" y="1392"/>
                  </a:cubicBezTo>
                  <a:cubicBezTo>
                    <a:pt x="1245" y="1399"/>
                    <a:pt x="1239" y="1403"/>
                    <a:pt x="1234" y="1406"/>
                  </a:cubicBezTo>
                  <a:cubicBezTo>
                    <a:pt x="1229" y="1419"/>
                    <a:pt x="1234" y="1431"/>
                    <a:pt x="1228" y="1440"/>
                  </a:cubicBezTo>
                  <a:cubicBezTo>
                    <a:pt x="1222" y="1449"/>
                    <a:pt x="1206" y="1451"/>
                    <a:pt x="1200" y="1461"/>
                  </a:cubicBezTo>
                  <a:cubicBezTo>
                    <a:pt x="1196" y="1468"/>
                    <a:pt x="1195" y="1479"/>
                    <a:pt x="1200" y="1486"/>
                  </a:cubicBezTo>
                  <a:cubicBezTo>
                    <a:pt x="1199" y="1488"/>
                    <a:pt x="1197" y="1489"/>
                    <a:pt x="1196" y="1492"/>
                  </a:cubicBezTo>
                  <a:cubicBezTo>
                    <a:pt x="1210" y="1500"/>
                    <a:pt x="1225" y="1491"/>
                    <a:pt x="1237" y="1484"/>
                  </a:cubicBezTo>
                  <a:cubicBezTo>
                    <a:pt x="1249" y="1477"/>
                    <a:pt x="1252" y="1470"/>
                    <a:pt x="1258" y="1461"/>
                  </a:cubicBezTo>
                  <a:cubicBezTo>
                    <a:pt x="1266" y="1449"/>
                    <a:pt x="1279" y="1438"/>
                    <a:pt x="1290" y="1426"/>
                  </a:cubicBezTo>
                  <a:cubicBezTo>
                    <a:pt x="1303" y="1412"/>
                    <a:pt x="1321" y="1396"/>
                    <a:pt x="1320" y="1379"/>
                  </a:cubicBezTo>
                  <a:cubicBezTo>
                    <a:pt x="1329" y="1372"/>
                    <a:pt x="1331" y="1358"/>
                    <a:pt x="1346" y="1357"/>
                  </a:cubicBezTo>
                  <a:cubicBezTo>
                    <a:pt x="1347" y="1353"/>
                    <a:pt x="1345" y="1350"/>
                    <a:pt x="1343" y="1348"/>
                  </a:cubicBezTo>
                  <a:cubicBezTo>
                    <a:pt x="1345" y="1344"/>
                    <a:pt x="1348" y="1342"/>
                    <a:pt x="1349" y="1337"/>
                  </a:cubicBezTo>
                  <a:cubicBezTo>
                    <a:pt x="1346" y="1333"/>
                    <a:pt x="1345" y="1330"/>
                    <a:pt x="1346" y="1324"/>
                  </a:cubicBezTo>
                  <a:close/>
                  <a:moveTo>
                    <a:pt x="543" y="30"/>
                  </a:moveTo>
                  <a:cubicBezTo>
                    <a:pt x="549" y="31"/>
                    <a:pt x="558" y="29"/>
                    <a:pt x="561" y="24"/>
                  </a:cubicBezTo>
                  <a:cubicBezTo>
                    <a:pt x="559" y="23"/>
                    <a:pt x="555" y="25"/>
                    <a:pt x="555" y="23"/>
                  </a:cubicBezTo>
                  <a:cubicBezTo>
                    <a:pt x="557" y="20"/>
                    <a:pt x="562" y="20"/>
                    <a:pt x="565" y="18"/>
                  </a:cubicBezTo>
                  <a:cubicBezTo>
                    <a:pt x="566" y="22"/>
                    <a:pt x="567" y="23"/>
                    <a:pt x="567" y="25"/>
                  </a:cubicBezTo>
                  <a:cubicBezTo>
                    <a:pt x="591" y="20"/>
                    <a:pt x="609" y="13"/>
                    <a:pt x="635" y="14"/>
                  </a:cubicBezTo>
                  <a:cubicBezTo>
                    <a:pt x="628" y="14"/>
                    <a:pt x="628" y="14"/>
                    <a:pt x="628" y="14"/>
                  </a:cubicBezTo>
                  <a:cubicBezTo>
                    <a:pt x="619" y="24"/>
                    <a:pt x="601" y="16"/>
                    <a:pt x="593" y="22"/>
                  </a:cubicBezTo>
                  <a:cubicBezTo>
                    <a:pt x="592" y="24"/>
                    <a:pt x="595" y="25"/>
                    <a:pt x="593" y="26"/>
                  </a:cubicBezTo>
                  <a:cubicBezTo>
                    <a:pt x="591" y="26"/>
                    <a:pt x="590" y="24"/>
                    <a:pt x="589" y="23"/>
                  </a:cubicBezTo>
                  <a:cubicBezTo>
                    <a:pt x="584" y="25"/>
                    <a:pt x="579" y="26"/>
                    <a:pt x="576" y="31"/>
                  </a:cubicBezTo>
                  <a:cubicBezTo>
                    <a:pt x="580" y="32"/>
                    <a:pt x="584" y="29"/>
                    <a:pt x="586" y="34"/>
                  </a:cubicBezTo>
                  <a:cubicBezTo>
                    <a:pt x="573" y="46"/>
                    <a:pt x="553" y="51"/>
                    <a:pt x="537" y="59"/>
                  </a:cubicBezTo>
                  <a:cubicBezTo>
                    <a:pt x="541" y="61"/>
                    <a:pt x="545" y="57"/>
                    <a:pt x="546" y="59"/>
                  </a:cubicBezTo>
                  <a:cubicBezTo>
                    <a:pt x="542" y="61"/>
                    <a:pt x="540" y="65"/>
                    <a:pt x="534" y="66"/>
                  </a:cubicBezTo>
                  <a:cubicBezTo>
                    <a:pt x="534" y="62"/>
                    <a:pt x="534" y="62"/>
                    <a:pt x="534" y="62"/>
                  </a:cubicBezTo>
                  <a:cubicBezTo>
                    <a:pt x="528" y="61"/>
                    <a:pt x="525" y="67"/>
                    <a:pt x="527" y="71"/>
                  </a:cubicBezTo>
                  <a:cubicBezTo>
                    <a:pt x="521" y="74"/>
                    <a:pt x="515" y="77"/>
                    <a:pt x="508" y="79"/>
                  </a:cubicBezTo>
                  <a:cubicBezTo>
                    <a:pt x="508" y="77"/>
                    <a:pt x="510" y="77"/>
                    <a:pt x="507" y="77"/>
                  </a:cubicBezTo>
                  <a:cubicBezTo>
                    <a:pt x="503" y="77"/>
                    <a:pt x="503" y="80"/>
                    <a:pt x="499" y="81"/>
                  </a:cubicBezTo>
                  <a:cubicBezTo>
                    <a:pt x="479" y="84"/>
                    <a:pt x="469" y="99"/>
                    <a:pt x="452" y="107"/>
                  </a:cubicBezTo>
                  <a:cubicBezTo>
                    <a:pt x="456" y="107"/>
                    <a:pt x="458" y="102"/>
                    <a:pt x="461" y="106"/>
                  </a:cubicBezTo>
                  <a:cubicBezTo>
                    <a:pt x="441" y="111"/>
                    <a:pt x="429" y="123"/>
                    <a:pt x="419" y="138"/>
                  </a:cubicBezTo>
                  <a:cubicBezTo>
                    <a:pt x="422" y="140"/>
                    <a:pt x="423" y="138"/>
                    <a:pt x="426" y="137"/>
                  </a:cubicBezTo>
                  <a:cubicBezTo>
                    <a:pt x="423" y="141"/>
                    <a:pt x="417" y="144"/>
                    <a:pt x="418" y="149"/>
                  </a:cubicBezTo>
                  <a:cubicBezTo>
                    <a:pt x="438" y="144"/>
                    <a:pt x="451" y="129"/>
                    <a:pt x="469" y="123"/>
                  </a:cubicBezTo>
                  <a:cubicBezTo>
                    <a:pt x="476" y="120"/>
                    <a:pt x="483" y="118"/>
                    <a:pt x="490" y="114"/>
                  </a:cubicBezTo>
                  <a:cubicBezTo>
                    <a:pt x="490" y="112"/>
                    <a:pt x="492" y="111"/>
                    <a:pt x="494" y="110"/>
                  </a:cubicBezTo>
                  <a:cubicBezTo>
                    <a:pt x="515" y="109"/>
                    <a:pt x="539" y="103"/>
                    <a:pt x="564" y="92"/>
                  </a:cubicBezTo>
                  <a:cubicBezTo>
                    <a:pt x="562" y="94"/>
                    <a:pt x="564" y="93"/>
                    <a:pt x="565" y="95"/>
                  </a:cubicBezTo>
                  <a:cubicBezTo>
                    <a:pt x="585" y="94"/>
                    <a:pt x="601" y="89"/>
                    <a:pt x="619" y="85"/>
                  </a:cubicBezTo>
                  <a:cubicBezTo>
                    <a:pt x="618" y="82"/>
                    <a:pt x="614" y="82"/>
                    <a:pt x="612" y="80"/>
                  </a:cubicBezTo>
                  <a:cubicBezTo>
                    <a:pt x="616" y="79"/>
                    <a:pt x="616" y="74"/>
                    <a:pt x="622" y="75"/>
                  </a:cubicBezTo>
                  <a:cubicBezTo>
                    <a:pt x="622" y="77"/>
                    <a:pt x="619" y="77"/>
                    <a:pt x="618" y="80"/>
                  </a:cubicBezTo>
                  <a:cubicBezTo>
                    <a:pt x="627" y="89"/>
                    <a:pt x="641" y="68"/>
                    <a:pt x="631" y="63"/>
                  </a:cubicBezTo>
                  <a:cubicBezTo>
                    <a:pt x="634" y="62"/>
                    <a:pt x="637" y="64"/>
                    <a:pt x="641" y="62"/>
                  </a:cubicBezTo>
                  <a:cubicBezTo>
                    <a:pt x="643" y="63"/>
                    <a:pt x="642" y="67"/>
                    <a:pt x="645" y="67"/>
                  </a:cubicBezTo>
                  <a:cubicBezTo>
                    <a:pt x="648" y="62"/>
                    <a:pt x="652" y="64"/>
                    <a:pt x="659" y="63"/>
                  </a:cubicBezTo>
                  <a:cubicBezTo>
                    <a:pt x="660" y="56"/>
                    <a:pt x="669" y="62"/>
                    <a:pt x="672" y="57"/>
                  </a:cubicBezTo>
                  <a:cubicBezTo>
                    <a:pt x="671" y="56"/>
                    <a:pt x="669" y="56"/>
                    <a:pt x="669" y="54"/>
                  </a:cubicBezTo>
                  <a:cubicBezTo>
                    <a:pt x="672" y="51"/>
                    <a:pt x="673" y="53"/>
                    <a:pt x="676" y="54"/>
                  </a:cubicBezTo>
                  <a:cubicBezTo>
                    <a:pt x="678" y="52"/>
                    <a:pt x="679" y="51"/>
                    <a:pt x="681" y="50"/>
                  </a:cubicBezTo>
                  <a:cubicBezTo>
                    <a:pt x="682" y="46"/>
                    <a:pt x="678" y="47"/>
                    <a:pt x="679" y="44"/>
                  </a:cubicBezTo>
                  <a:cubicBezTo>
                    <a:pt x="687" y="44"/>
                    <a:pt x="691" y="46"/>
                    <a:pt x="696" y="43"/>
                  </a:cubicBezTo>
                  <a:cubicBezTo>
                    <a:pt x="698" y="40"/>
                    <a:pt x="693" y="43"/>
                    <a:pt x="693" y="40"/>
                  </a:cubicBezTo>
                  <a:cubicBezTo>
                    <a:pt x="704" y="32"/>
                    <a:pt x="724" y="28"/>
                    <a:pt x="740" y="25"/>
                  </a:cubicBezTo>
                  <a:cubicBezTo>
                    <a:pt x="736" y="19"/>
                    <a:pt x="724" y="24"/>
                    <a:pt x="718" y="23"/>
                  </a:cubicBezTo>
                  <a:cubicBezTo>
                    <a:pt x="718" y="19"/>
                    <a:pt x="724" y="21"/>
                    <a:pt x="725" y="18"/>
                  </a:cubicBezTo>
                  <a:cubicBezTo>
                    <a:pt x="713" y="13"/>
                    <a:pt x="688" y="10"/>
                    <a:pt x="674" y="16"/>
                  </a:cubicBezTo>
                  <a:cubicBezTo>
                    <a:pt x="674" y="13"/>
                    <a:pt x="674" y="13"/>
                    <a:pt x="674" y="13"/>
                  </a:cubicBezTo>
                  <a:cubicBezTo>
                    <a:pt x="666" y="16"/>
                    <a:pt x="660" y="11"/>
                    <a:pt x="653" y="12"/>
                  </a:cubicBezTo>
                  <a:cubicBezTo>
                    <a:pt x="653" y="10"/>
                    <a:pt x="655" y="10"/>
                    <a:pt x="656" y="9"/>
                  </a:cubicBezTo>
                  <a:cubicBezTo>
                    <a:pt x="645" y="5"/>
                    <a:pt x="629" y="0"/>
                    <a:pt x="616" y="7"/>
                  </a:cubicBezTo>
                  <a:cubicBezTo>
                    <a:pt x="617" y="7"/>
                    <a:pt x="619" y="6"/>
                    <a:pt x="619" y="8"/>
                  </a:cubicBezTo>
                  <a:cubicBezTo>
                    <a:pt x="613" y="8"/>
                    <a:pt x="615" y="9"/>
                    <a:pt x="611" y="11"/>
                  </a:cubicBezTo>
                  <a:cubicBezTo>
                    <a:pt x="608" y="7"/>
                    <a:pt x="615" y="6"/>
                    <a:pt x="618" y="4"/>
                  </a:cubicBezTo>
                  <a:cubicBezTo>
                    <a:pt x="604" y="5"/>
                    <a:pt x="594" y="9"/>
                    <a:pt x="584" y="13"/>
                  </a:cubicBezTo>
                  <a:cubicBezTo>
                    <a:pt x="585" y="14"/>
                    <a:pt x="585" y="15"/>
                    <a:pt x="585" y="16"/>
                  </a:cubicBezTo>
                  <a:cubicBezTo>
                    <a:pt x="582" y="18"/>
                    <a:pt x="575" y="13"/>
                    <a:pt x="576" y="17"/>
                  </a:cubicBezTo>
                  <a:cubicBezTo>
                    <a:pt x="572" y="17"/>
                    <a:pt x="570" y="19"/>
                    <a:pt x="566" y="18"/>
                  </a:cubicBezTo>
                  <a:cubicBezTo>
                    <a:pt x="566" y="16"/>
                    <a:pt x="570" y="16"/>
                    <a:pt x="570" y="14"/>
                  </a:cubicBezTo>
                  <a:cubicBezTo>
                    <a:pt x="563" y="14"/>
                    <a:pt x="559" y="22"/>
                    <a:pt x="553" y="20"/>
                  </a:cubicBezTo>
                  <a:cubicBezTo>
                    <a:pt x="554" y="20"/>
                    <a:pt x="554" y="19"/>
                    <a:pt x="553" y="18"/>
                  </a:cubicBezTo>
                  <a:cubicBezTo>
                    <a:pt x="558" y="18"/>
                    <a:pt x="560" y="16"/>
                    <a:pt x="565" y="15"/>
                  </a:cubicBezTo>
                  <a:cubicBezTo>
                    <a:pt x="561" y="11"/>
                    <a:pt x="571" y="11"/>
                    <a:pt x="570" y="8"/>
                  </a:cubicBezTo>
                  <a:cubicBezTo>
                    <a:pt x="563" y="10"/>
                    <a:pt x="556" y="12"/>
                    <a:pt x="550" y="15"/>
                  </a:cubicBezTo>
                  <a:cubicBezTo>
                    <a:pt x="553" y="17"/>
                    <a:pt x="554" y="14"/>
                    <a:pt x="556" y="16"/>
                  </a:cubicBezTo>
                  <a:cubicBezTo>
                    <a:pt x="552" y="17"/>
                    <a:pt x="550" y="19"/>
                    <a:pt x="550" y="20"/>
                  </a:cubicBezTo>
                  <a:cubicBezTo>
                    <a:pt x="547" y="18"/>
                    <a:pt x="548" y="22"/>
                    <a:pt x="545" y="23"/>
                  </a:cubicBezTo>
                  <a:cubicBezTo>
                    <a:pt x="549" y="23"/>
                    <a:pt x="541" y="26"/>
                    <a:pt x="543" y="30"/>
                  </a:cubicBezTo>
                  <a:close/>
                  <a:moveTo>
                    <a:pt x="595" y="5"/>
                  </a:moveTo>
                  <a:cubicBezTo>
                    <a:pt x="588" y="5"/>
                    <a:pt x="580" y="11"/>
                    <a:pt x="577" y="13"/>
                  </a:cubicBezTo>
                  <a:cubicBezTo>
                    <a:pt x="580" y="13"/>
                    <a:pt x="582" y="12"/>
                    <a:pt x="586" y="11"/>
                  </a:cubicBezTo>
                  <a:cubicBezTo>
                    <a:pt x="585" y="7"/>
                    <a:pt x="592" y="9"/>
                    <a:pt x="595" y="5"/>
                  </a:cubicBezTo>
                  <a:close/>
                  <a:moveTo>
                    <a:pt x="397" y="110"/>
                  </a:moveTo>
                  <a:cubicBezTo>
                    <a:pt x="404" y="109"/>
                    <a:pt x="408" y="99"/>
                    <a:pt x="414" y="99"/>
                  </a:cubicBezTo>
                  <a:cubicBezTo>
                    <a:pt x="414" y="102"/>
                    <a:pt x="410" y="102"/>
                    <a:pt x="409" y="105"/>
                  </a:cubicBezTo>
                  <a:cubicBezTo>
                    <a:pt x="428" y="100"/>
                    <a:pt x="438" y="84"/>
                    <a:pt x="454" y="80"/>
                  </a:cubicBezTo>
                  <a:cubicBezTo>
                    <a:pt x="451" y="85"/>
                    <a:pt x="443" y="87"/>
                    <a:pt x="439" y="92"/>
                  </a:cubicBezTo>
                  <a:cubicBezTo>
                    <a:pt x="448" y="87"/>
                    <a:pt x="457" y="87"/>
                    <a:pt x="467" y="82"/>
                  </a:cubicBezTo>
                  <a:cubicBezTo>
                    <a:pt x="467" y="78"/>
                    <a:pt x="467" y="78"/>
                    <a:pt x="467" y="78"/>
                  </a:cubicBezTo>
                  <a:cubicBezTo>
                    <a:pt x="469" y="76"/>
                    <a:pt x="472" y="75"/>
                    <a:pt x="474" y="74"/>
                  </a:cubicBezTo>
                  <a:cubicBezTo>
                    <a:pt x="478" y="62"/>
                    <a:pt x="492" y="66"/>
                    <a:pt x="499" y="59"/>
                  </a:cubicBezTo>
                  <a:cubicBezTo>
                    <a:pt x="499" y="58"/>
                    <a:pt x="498" y="59"/>
                    <a:pt x="498" y="58"/>
                  </a:cubicBezTo>
                  <a:cubicBezTo>
                    <a:pt x="504" y="58"/>
                    <a:pt x="509" y="55"/>
                    <a:pt x="507" y="51"/>
                  </a:cubicBezTo>
                  <a:cubicBezTo>
                    <a:pt x="510" y="52"/>
                    <a:pt x="517" y="49"/>
                    <a:pt x="513" y="46"/>
                  </a:cubicBezTo>
                  <a:cubicBezTo>
                    <a:pt x="518" y="44"/>
                    <a:pt x="525" y="44"/>
                    <a:pt x="526" y="38"/>
                  </a:cubicBezTo>
                  <a:cubicBezTo>
                    <a:pt x="530" y="40"/>
                    <a:pt x="536" y="38"/>
                    <a:pt x="536" y="34"/>
                  </a:cubicBezTo>
                  <a:cubicBezTo>
                    <a:pt x="532" y="32"/>
                    <a:pt x="532" y="33"/>
                    <a:pt x="535" y="30"/>
                  </a:cubicBezTo>
                  <a:cubicBezTo>
                    <a:pt x="505" y="33"/>
                    <a:pt x="487" y="53"/>
                    <a:pt x="461" y="57"/>
                  </a:cubicBezTo>
                  <a:cubicBezTo>
                    <a:pt x="484" y="51"/>
                    <a:pt x="499" y="35"/>
                    <a:pt x="520" y="31"/>
                  </a:cubicBezTo>
                  <a:cubicBezTo>
                    <a:pt x="523" y="30"/>
                    <a:pt x="536" y="31"/>
                    <a:pt x="540" y="24"/>
                  </a:cubicBezTo>
                  <a:cubicBezTo>
                    <a:pt x="538" y="23"/>
                    <a:pt x="537" y="27"/>
                    <a:pt x="536" y="24"/>
                  </a:cubicBezTo>
                  <a:cubicBezTo>
                    <a:pt x="538" y="24"/>
                    <a:pt x="540" y="24"/>
                    <a:pt x="540" y="21"/>
                  </a:cubicBezTo>
                  <a:cubicBezTo>
                    <a:pt x="536" y="21"/>
                    <a:pt x="537" y="21"/>
                    <a:pt x="531" y="21"/>
                  </a:cubicBezTo>
                  <a:cubicBezTo>
                    <a:pt x="531" y="23"/>
                    <a:pt x="531" y="23"/>
                    <a:pt x="530" y="24"/>
                  </a:cubicBezTo>
                  <a:cubicBezTo>
                    <a:pt x="520" y="31"/>
                    <a:pt x="502" y="35"/>
                    <a:pt x="492" y="39"/>
                  </a:cubicBezTo>
                  <a:cubicBezTo>
                    <a:pt x="509" y="31"/>
                    <a:pt x="495" y="38"/>
                    <a:pt x="485" y="41"/>
                  </a:cubicBezTo>
                  <a:cubicBezTo>
                    <a:pt x="483" y="43"/>
                    <a:pt x="484" y="44"/>
                    <a:pt x="483" y="45"/>
                  </a:cubicBezTo>
                  <a:cubicBezTo>
                    <a:pt x="481" y="45"/>
                    <a:pt x="479" y="45"/>
                    <a:pt x="478" y="47"/>
                  </a:cubicBezTo>
                  <a:cubicBezTo>
                    <a:pt x="459" y="52"/>
                    <a:pt x="439" y="65"/>
                    <a:pt x="422" y="75"/>
                  </a:cubicBezTo>
                  <a:cubicBezTo>
                    <a:pt x="423" y="75"/>
                    <a:pt x="424" y="75"/>
                    <a:pt x="425" y="76"/>
                  </a:cubicBezTo>
                  <a:cubicBezTo>
                    <a:pt x="421" y="77"/>
                    <a:pt x="420" y="77"/>
                    <a:pt x="420" y="75"/>
                  </a:cubicBezTo>
                  <a:cubicBezTo>
                    <a:pt x="422" y="78"/>
                    <a:pt x="410" y="83"/>
                    <a:pt x="412" y="83"/>
                  </a:cubicBezTo>
                  <a:cubicBezTo>
                    <a:pt x="414" y="83"/>
                    <a:pt x="415" y="81"/>
                    <a:pt x="415" y="83"/>
                  </a:cubicBezTo>
                  <a:cubicBezTo>
                    <a:pt x="413" y="84"/>
                    <a:pt x="411" y="85"/>
                    <a:pt x="409" y="87"/>
                  </a:cubicBezTo>
                  <a:cubicBezTo>
                    <a:pt x="411" y="87"/>
                    <a:pt x="411" y="89"/>
                    <a:pt x="412" y="89"/>
                  </a:cubicBezTo>
                  <a:cubicBezTo>
                    <a:pt x="411" y="83"/>
                    <a:pt x="438" y="72"/>
                    <a:pt x="445" y="66"/>
                  </a:cubicBezTo>
                  <a:cubicBezTo>
                    <a:pt x="445" y="67"/>
                    <a:pt x="445" y="68"/>
                    <a:pt x="446" y="68"/>
                  </a:cubicBezTo>
                  <a:cubicBezTo>
                    <a:pt x="461" y="62"/>
                    <a:pt x="476" y="54"/>
                    <a:pt x="492" y="49"/>
                  </a:cubicBezTo>
                  <a:cubicBezTo>
                    <a:pt x="489" y="52"/>
                    <a:pt x="491" y="51"/>
                    <a:pt x="493" y="52"/>
                  </a:cubicBezTo>
                  <a:cubicBezTo>
                    <a:pt x="489" y="56"/>
                    <a:pt x="481" y="56"/>
                    <a:pt x="481" y="57"/>
                  </a:cubicBezTo>
                  <a:cubicBezTo>
                    <a:pt x="481" y="60"/>
                    <a:pt x="484" y="54"/>
                    <a:pt x="484" y="58"/>
                  </a:cubicBezTo>
                  <a:cubicBezTo>
                    <a:pt x="474" y="60"/>
                    <a:pt x="475" y="66"/>
                    <a:pt x="467" y="64"/>
                  </a:cubicBezTo>
                  <a:cubicBezTo>
                    <a:pt x="468" y="64"/>
                    <a:pt x="469" y="64"/>
                    <a:pt x="470" y="62"/>
                  </a:cubicBezTo>
                  <a:cubicBezTo>
                    <a:pt x="465" y="63"/>
                    <a:pt x="461" y="63"/>
                    <a:pt x="459" y="67"/>
                  </a:cubicBezTo>
                  <a:cubicBezTo>
                    <a:pt x="462" y="67"/>
                    <a:pt x="466" y="64"/>
                    <a:pt x="468" y="67"/>
                  </a:cubicBezTo>
                  <a:cubicBezTo>
                    <a:pt x="457" y="71"/>
                    <a:pt x="446" y="75"/>
                    <a:pt x="436" y="80"/>
                  </a:cubicBezTo>
                  <a:cubicBezTo>
                    <a:pt x="435" y="79"/>
                    <a:pt x="435" y="79"/>
                    <a:pt x="435" y="78"/>
                  </a:cubicBezTo>
                  <a:cubicBezTo>
                    <a:pt x="430" y="79"/>
                    <a:pt x="424" y="81"/>
                    <a:pt x="421" y="84"/>
                  </a:cubicBezTo>
                  <a:cubicBezTo>
                    <a:pt x="424" y="85"/>
                    <a:pt x="425" y="84"/>
                    <a:pt x="426" y="85"/>
                  </a:cubicBezTo>
                  <a:cubicBezTo>
                    <a:pt x="420" y="91"/>
                    <a:pt x="401" y="99"/>
                    <a:pt x="403" y="103"/>
                  </a:cubicBezTo>
                  <a:cubicBezTo>
                    <a:pt x="399" y="103"/>
                    <a:pt x="400" y="108"/>
                    <a:pt x="397" y="110"/>
                  </a:cubicBezTo>
                  <a:close/>
                  <a:moveTo>
                    <a:pt x="1664" y="783"/>
                  </a:moveTo>
                  <a:cubicBezTo>
                    <a:pt x="1662" y="757"/>
                    <a:pt x="1654" y="739"/>
                    <a:pt x="1657" y="715"/>
                  </a:cubicBezTo>
                  <a:cubicBezTo>
                    <a:pt x="1657" y="713"/>
                    <a:pt x="1660" y="711"/>
                    <a:pt x="1660" y="709"/>
                  </a:cubicBezTo>
                  <a:cubicBezTo>
                    <a:pt x="1661" y="704"/>
                    <a:pt x="1658" y="695"/>
                    <a:pt x="1659" y="688"/>
                  </a:cubicBezTo>
                  <a:cubicBezTo>
                    <a:pt x="1663" y="662"/>
                    <a:pt x="1657" y="631"/>
                    <a:pt x="1654" y="604"/>
                  </a:cubicBezTo>
                  <a:cubicBezTo>
                    <a:pt x="1657" y="604"/>
                    <a:pt x="1656" y="608"/>
                    <a:pt x="1658" y="609"/>
                  </a:cubicBezTo>
                  <a:cubicBezTo>
                    <a:pt x="1657" y="596"/>
                    <a:pt x="1656" y="594"/>
                    <a:pt x="1660" y="586"/>
                  </a:cubicBezTo>
                  <a:cubicBezTo>
                    <a:pt x="1665" y="605"/>
                    <a:pt x="1677" y="623"/>
                    <a:pt x="1681" y="642"/>
                  </a:cubicBezTo>
                  <a:cubicBezTo>
                    <a:pt x="1653" y="494"/>
                    <a:pt x="1586" y="373"/>
                    <a:pt x="1504" y="271"/>
                  </a:cubicBezTo>
                  <a:cubicBezTo>
                    <a:pt x="1433" y="183"/>
                    <a:pt x="1339" y="108"/>
                    <a:pt x="1233" y="55"/>
                  </a:cubicBezTo>
                  <a:cubicBezTo>
                    <a:pt x="1211" y="44"/>
                    <a:pt x="1193" y="32"/>
                    <a:pt x="1170" y="30"/>
                  </a:cubicBezTo>
                  <a:cubicBezTo>
                    <a:pt x="1169" y="38"/>
                    <a:pt x="1191" y="35"/>
                    <a:pt x="1181" y="42"/>
                  </a:cubicBezTo>
                  <a:cubicBezTo>
                    <a:pt x="1185" y="42"/>
                    <a:pt x="1187" y="44"/>
                    <a:pt x="1190" y="46"/>
                  </a:cubicBezTo>
                  <a:cubicBezTo>
                    <a:pt x="1176" y="44"/>
                    <a:pt x="1163" y="34"/>
                    <a:pt x="1149" y="38"/>
                  </a:cubicBezTo>
                  <a:cubicBezTo>
                    <a:pt x="1153" y="40"/>
                    <a:pt x="1156" y="40"/>
                    <a:pt x="1159" y="42"/>
                  </a:cubicBezTo>
                  <a:cubicBezTo>
                    <a:pt x="1149" y="43"/>
                    <a:pt x="1137" y="42"/>
                    <a:pt x="1133" y="43"/>
                  </a:cubicBezTo>
                  <a:cubicBezTo>
                    <a:pt x="1134" y="43"/>
                    <a:pt x="1134" y="43"/>
                    <a:pt x="1134" y="44"/>
                  </a:cubicBezTo>
                  <a:cubicBezTo>
                    <a:pt x="1129" y="45"/>
                    <a:pt x="1128" y="38"/>
                    <a:pt x="1123" y="41"/>
                  </a:cubicBezTo>
                  <a:cubicBezTo>
                    <a:pt x="1128" y="43"/>
                    <a:pt x="1130" y="44"/>
                    <a:pt x="1134" y="48"/>
                  </a:cubicBezTo>
                  <a:cubicBezTo>
                    <a:pt x="1134" y="49"/>
                    <a:pt x="1133" y="50"/>
                    <a:pt x="1132" y="51"/>
                  </a:cubicBezTo>
                  <a:cubicBezTo>
                    <a:pt x="1122" y="41"/>
                    <a:pt x="1110" y="28"/>
                    <a:pt x="1092" y="32"/>
                  </a:cubicBezTo>
                  <a:cubicBezTo>
                    <a:pt x="1084" y="33"/>
                    <a:pt x="1075" y="30"/>
                    <a:pt x="1069" y="33"/>
                  </a:cubicBezTo>
                  <a:cubicBezTo>
                    <a:pt x="1071" y="34"/>
                    <a:pt x="1075" y="34"/>
                    <a:pt x="1077" y="36"/>
                  </a:cubicBezTo>
                  <a:cubicBezTo>
                    <a:pt x="1073" y="36"/>
                    <a:pt x="1080" y="39"/>
                    <a:pt x="1076" y="41"/>
                  </a:cubicBezTo>
                  <a:cubicBezTo>
                    <a:pt x="1073" y="41"/>
                    <a:pt x="1073" y="39"/>
                    <a:pt x="1069" y="39"/>
                  </a:cubicBezTo>
                  <a:cubicBezTo>
                    <a:pt x="1069" y="44"/>
                    <a:pt x="1063" y="43"/>
                    <a:pt x="1064" y="47"/>
                  </a:cubicBezTo>
                  <a:cubicBezTo>
                    <a:pt x="1065" y="53"/>
                    <a:pt x="1072" y="50"/>
                    <a:pt x="1074" y="57"/>
                  </a:cubicBezTo>
                  <a:cubicBezTo>
                    <a:pt x="1068" y="57"/>
                    <a:pt x="1065" y="56"/>
                    <a:pt x="1062" y="59"/>
                  </a:cubicBezTo>
                  <a:cubicBezTo>
                    <a:pt x="1067" y="66"/>
                    <a:pt x="1081" y="64"/>
                    <a:pt x="1088" y="69"/>
                  </a:cubicBezTo>
                  <a:cubicBezTo>
                    <a:pt x="1080" y="69"/>
                    <a:pt x="1076" y="66"/>
                    <a:pt x="1068" y="66"/>
                  </a:cubicBezTo>
                  <a:cubicBezTo>
                    <a:pt x="1070" y="70"/>
                    <a:pt x="1066" y="68"/>
                    <a:pt x="1065" y="70"/>
                  </a:cubicBezTo>
                  <a:cubicBezTo>
                    <a:pt x="1066" y="72"/>
                    <a:pt x="1072" y="73"/>
                    <a:pt x="1070" y="74"/>
                  </a:cubicBezTo>
                  <a:cubicBezTo>
                    <a:pt x="1063" y="73"/>
                    <a:pt x="1059" y="64"/>
                    <a:pt x="1052" y="66"/>
                  </a:cubicBezTo>
                  <a:cubicBezTo>
                    <a:pt x="1056" y="67"/>
                    <a:pt x="1057" y="70"/>
                    <a:pt x="1058" y="74"/>
                  </a:cubicBezTo>
                  <a:cubicBezTo>
                    <a:pt x="1073" y="77"/>
                    <a:pt x="1082" y="94"/>
                    <a:pt x="1098" y="88"/>
                  </a:cubicBezTo>
                  <a:cubicBezTo>
                    <a:pt x="1098" y="91"/>
                    <a:pt x="1095" y="90"/>
                    <a:pt x="1096" y="93"/>
                  </a:cubicBezTo>
                  <a:cubicBezTo>
                    <a:pt x="1104" y="97"/>
                    <a:pt x="1113" y="103"/>
                    <a:pt x="1113" y="112"/>
                  </a:cubicBezTo>
                  <a:cubicBezTo>
                    <a:pt x="1108" y="111"/>
                    <a:pt x="1100" y="114"/>
                    <a:pt x="1098" y="110"/>
                  </a:cubicBezTo>
                  <a:cubicBezTo>
                    <a:pt x="1101" y="110"/>
                    <a:pt x="1103" y="108"/>
                    <a:pt x="1105" y="107"/>
                  </a:cubicBezTo>
                  <a:cubicBezTo>
                    <a:pt x="1101" y="101"/>
                    <a:pt x="1099" y="93"/>
                    <a:pt x="1087" y="94"/>
                  </a:cubicBezTo>
                  <a:cubicBezTo>
                    <a:pt x="1083" y="92"/>
                    <a:pt x="1081" y="89"/>
                    <a:pt x="1077" y="86"/>
                  </a:cubicBezTo>
                  <a:cubicBezTo>
                    <a:pt x="1071" y="83"/>
                    <a:pt x="1063" y="81"/>
                    <a:pt x="1057" y="77"/>
                  </a:cubicBezTo>
                  <a:cubicBezTo>
                    <a:pt x="1050" y="72"/>
                    <a:pt x="1045" y="64"/>
                    <a:pt x="1031" y="66"/>
                  </a:cubicBezTo>
                  <a:cubicBezTo>
                    <a:pt x="1031" y="71"/>
                    <a:pt x="1040" y="73"/>
                    <a:pt x="1038" y="81"/>
                  </a:cubicBezTo>
                  <a:cubicBezTo>
                    <a:pt x="1046" y="82"/>
                    <a:pt x="1050" y="87"/>
                    <a:pt x="1055" y="91"/>
                  </a:cubicBezTo>
                  <a:cubicBezTo>
                    <a:pt x="1061" y="91"/>
                    <a:pt x="1070" y="92"/>
                    <a:pt x="1073" y="98"/>
                  </a:cubicBezTo>
                  <a:cubicBezTo>
                    <a:pt x="1055" y="95"/>
                    <a:pt x="1045" y="90"/>
                    <a:pt x="1026" y="91"/>
                  </a:cubicBezTo>
                  <a:cubicBezTo>
                    <a:pt x="1025" y="96"/>
                    <a:pt x="1033" y="94"/>
                    <a:pt x="1033" y="99"/>
                  </a:cubicBezTo>
                  <a:cubicBezTo>
                    <a:pt x="1030" y="99"/>
                    <a:pt x="1036" y="102"/>
                    <a:pt x="1032" y="102"/>
                  </a:cubicBezTo>
                  <a:cubicBezTo>
                    <a:pt x="1028" y="102"/>
                    <a:pt x="1030" y="96"/>
                    <a:pt x="1025" y="97"/>
                  </a:cubicBezTo>
                  <a:cubicBezTo>
                    <a:pt x="1022" y="104"/>
                    <a:pt x="1011" y="98"/>
                    <a:pt x="1008" y="106"/>
                  </a:cubicBezTo>
                  <a:cubicBezTo>
                    <a:pt x="1001" y="107"/>
                    <a:pt x="1004" y="99"/>
                    <a:pt x="999" y="99"/>
                  </a:cubicBezTo>
                  <a:cubicBezTo>
                    <a:pt x="994" y="105"/>
                    <a:pt x="978" y="105"/>
                    <a:pt x="979" y="117"/>
                  </a:cubicBezTo>
                  <a:cubicBezTo>
                    <a:pt x="974" y="119"/>
                    <a:pt x="964" y="118"/>
                    <a:pt x="964" y="111"/>
                  </a:cubicBezTo>
                  <a:cubicBezTo>
                    <a:pt x="971" y="111"/>
                    <a:pt x="971" y="111"/>
                    <a:pt x="971" y="111"/>
                  </a:cubicBezTo>
                  <a:cubicBezTo>
                    <a:pt x="968" y="105"/>
                    <a:pt x="960" y="104"/>
                    <a:pt x="950" y="105"/>
                  </a:cubicBezTo>
                  <a:cubicBezTo>
                    <a:pt x="953" y="108"/>
                    <a:pt x="958" y="109"/>
                    <a:pt x="956" y="116"/>
                  </a:cubicBezTo>
                  <a:cubicBezTo>
                    <a:pt x="959" y="119"/>
                    <a:pt x="967" y="118"/>
                    <a:pt x="966" y="125"/>
                  </a:cubicBezTo>
                  <a:cubicBezTo>
                    <a:pt x="961" y="127"/>
                    <a:pt x="959" y="121"/>
                    <a:pt x="953" y="122"/>
                  </a:cubicBezTo>
                  <a:cubicBezTo>
                    <a:pt x="951" y="127"/>
                    <a:pt x="945" y="128"/>
                    <a:pt x="943" y="133"/>
                  </a:cubicBezTo>
                  <a:cubicBezTo>
                    <a:pt x="945" y="136"/>
                    <a:pt x="951" y="136"/>
                    <a:pt x="952" y="141"/>
                  </a:cubicBezTo>
                  <a:cubicBezTo>
                    <a:pt x="942" y="142"/>
                    <a:pt x="937" y="138"/>
                    <a:pt x="930" y="135"/>
                  </a:cubicBezTo>
                  <a:cubicBezTo>
                    <a:pt x="929" y="136"/>
                    <a:pt x="928" y="138"/>
                    <a:pt x="926" y="138"/>
                  </a:cubicBezTo>
                  <a:cubicBezTo>
                    <a:pt x="927" y="144"/>
                    <a:pt x="935" y="143"/>
                    <a:pt x="939" y="146"/>
                  </a:cubicBezTo>
                  <a:cubicBezTo>
                    <a:pt x="932" y="152"/>
                    <a:pt x="927" y="141"/>
                    <a:pt x="917" y="144"/>
                  </a:cubicBezTo>
                  <a:cubicBezTo>
                    <a:pt x="916" y="138"/>
                    <a:pt x="912" y="137"/>
                    <a:pt x="914" y="131"/>
                  </a:cubicBezTo>
                  <a:cubicBezTo>
                    <a:pt x="908" y="127"/>
                    <a:pt x="897" y="126"/>
                    <a:pt x="894" y="119"/>
                  </a:cubicBezTo>
                  <a:cubicBezTo>
                    <a:pt x="908" y="124"/>
                    <a:pt x="935" y="135"/>
                    <a:pt x="948" y="122"/>
                  </a:cubicBezTo>
                  <a:cubicBezTo>
                    <a:pt x="937" y="105"/>
                    <a:pt x="911" y="105"/>
                    <a:pt x="888" y="100"/>
                  </a:cubicBezTo>
                  <a:cubicBezTo>
                    <a:pt x="888" y="98"/>
                    <a:pt x="889" y="98"/>
                    <a:pt x="889" y="96"/>
                  </a:cubicBezTo>
                  <a:cubicBezTo>
                    <a:pt x="886" y="97"/>
                    <a:pt x="885" y="94"/>
                    <a:pt x="882" y="95"/>
                  </a:cubicBezTo>
                  <a:cubicBezTo>
                    <a:pt x="882" y="98"/>
                    <a:pt x="874" y="99"/>
                    <a:pt x="872" y="97"/>
                  </a:cubicBezTo>
                  <a:cubicBezTo>
                    <a:pt x="873" y="95"/>
                    <a:pt x="876" y="96"/>
                    <a:pt x="877" y="93"/>
                  </a:cubicBezTo>
                  <a:cubicBezTo>
                    <a:pt x="874" y="91"/>
                    <a:pt x="870" y="90"/>
                    <a:pt x="866" y="89"/>
                  </a:cubicBezTo>
                  <a:cubicBezTo>
                    <a:pt x="864" y="89"/>
                    <a:pt x="865" y="93"/>
                    <a:pt x="862" y="93"/>
                  </a:cubicBezTo>
                  <a:cubicBezTo>
                    <a:pt x="864" y="90"/>
                    <a:pt x="862" y="88"/>
                    <a:pt x="858" y="87"/>
                  </a:cubicBezTo>
                  <a:cubicBezTo>
                    <a:pt x="855" y="88"/>
                    <a:pt x="858" y="94"/>
                    <a:pt x="854" y="93"/>
                  </a:cubicBezTo>
                  <a:cubicBezTo>
                    <a:pt x="852" y="93"/>
                    <a:pt x="853" y="90"/>
                    <a:pt x="852" y="90"/>
                  </a:cubicBezTo>
                  <a:cubicBezTo>
                    <a:pt x="851" y="92"/>
                    <a:pt x="848" y="96"/>
                    <a:pt x="847" y="94"/>
                  </a:cubicBezTo>
                  <a:cubicBezTo>
                    <a:pt x="847" y="91"/>
                    <a:pt x="851" y="91"/>
                    <a:pt x="851" y="87"/>
                  </a:cubicBezTo>
                  <a:cubicBezTo>
                    <a:pt x="844" y="88"/>
                    <a:pt x="840" y="91"/>
                    <a:pt x="836" y="94"/>
                  </a:cubicBezTo>
                  <a:cubicBezTo>
                    <a:pt x="828" y="94"/>
                    <a:pt x="826" y="96"/>
                    <a:pt x="821" y="100"/>
                  </a:cubicBezTo>
                  <a:cubicBezTo>
                    <a:pt x="820" y="100"/>
                    <a:pt x="820" y="98"/>
                    <a:pt x="820" y="97"/>
                  </a:cubicBezTo>
                  <a:cubicBezTo>
                    <a:pt x="816" y="96"/>
                    <a:pt x="816" y="100"/>
                    <a:pt x="813" y="101"/>
                  </a:cubicBezTo>
                  <a:cubicBezTo>
                    <a:pt x="814" y="98"/>
                    <a:pt x="816" y="97"/>
                    <a:pt x="812" y="95"/>
                  </a:cubicBezTo>
                  <a:cubicBezTo>
                    <a:pt x="808" y="104"/>
                    <a:pt x="800" y="109"/>
                    <a:pt x="790" y="111"/>
                  </a:cubicBezTo>
                  <a:cubicBezTo>
                    <a:pt x="789" y="114"/>
                    <a:pt x="793" y="115"/>
                    <a:pt x="790" y="115"/>
                  </a:cubicBezTo>
                  <a:cubicBezTo>
                    <a:pt x="779" y="120"/>
                    <a:pt x="771" y="128"/>
                    <a:pt x="766" y="139"/>
                  </a:cubicBezTo>
                  <a:cubicBezTo>
                    <a:pt x="759" y="142"/>
                    <a:pt x="752" y="144"/>
                    <a:pt x="747" y="150"/>
                  </a:cubicBezTo>
                  <a:cubicBezTo>
                    <a:pt x="735" y="145"/>
                    <a:pt x="734" y="160"/>
                    <a:pt x="722" y="159"/>
                  </a:cubicBezTo>
                  <a:cubicBezTo>
                    <a:pt x="721" y="162"/>
                    <a:pt x="726" y="162"/>
                    <a:pt x="723" y="163"/>
                  </a:cubicBezTo>
                  <a:cubicBezTo>
                    <a:pt x="715" y="161"/>
                    <a:pt x="709" y="166"/>
                    <a:pt x="708" y="174"/>
                  </a:cubicBezTo>
                  <a:cubicBezTo>
                    <a:pt x="708" y="176"/>
                    <a:pt x="713" y="173"/>
                    <a:pt x="714" y="176"/>
                  </a:cubicBezTo>
                  <a:cubicBezTo>
                    <a:pt x="705" y="176"/>
                    <a:pt x="705" y="176"/>
                    <a:pt x="705" y="176"/>
                  </a:cubicBezTo>
                  <a:cubicBezTo>
                    <a:pt x="707" y="179"/>
                    <a:pt x="704" y="183"/>
                    <a:pt x="706" y="186"/>
                  </a:cubicBezTo>
                  <a:cubicBezTo>
                    <a:pt x="704" y="189"/>
                    <a:pt x="700" y="189"/>
                    <a:pt x="699" y="193"/>
                  </a:cubicBezTo>
                  <a:cubicBezTo>
                    <a:pt x="702" y="193"/>
                    <a:pt x="705" y="193"/>
                    <a:pt x="705" y="196"/>
                  </a:cubicBezTo>
                  <a:cubicBezTo>
                    <a:pt x="705" y="199"/>
                    <a:pt x="698" y="196"/>
                    <a:pt x="698" y="200"/>
                  </a:cubicBezTo>
                  <a:cubicBezTo>
                    <a:pt x="707" y="222"/>
                    <a:pt x="728" y="200"/>
                    <a:pt x="741" y="196"/>
                  </a:cubicBezTo>
                  <a:cubicBezTo>
                    <a:pt x="749" y="204"/>
                    <a:pt x="742" y="220"/>
                    <a:pt x="752" y="229"/>
                  </a:cubicBezTo>
                  <a:cubicBezTo>
                    <a:pt x="747" y="233"/>
                    <a:pt x="752" y="236"/>
                    <a:pt x="751" y="243"/>
                  </a:cubicBezTo>
                  <a:cubicBezTo>
                    <a:pt x="754" y="244"/>
                    <a:pt x="759" y="244"/>
                    <a:pt x="763" y="244"/>
                  </a:cubicBezTo>
                  <a:cubicBezTo>
                    <a:pt x="765" y="235"/>
                    <a:pt x="771" y="232"/>
                    <a:pt x="781" y="235"/>
                  </a:cubicBezTo>
                  <a:cubicBezTo>
                    <a:pt x="785" y="227"/>
                    <a:pt x="791" y="216"/>
                    <a:pt x="790" y="206"/>
                  </a:cubicBezTo>
                  <a:cubicBezTo>
                    <a:pt x="799" y="203"/>
                    <a:pt x="805" y="201"/>
                    <a:pt x="810" y="192"/>
                  </a:cubicBezTo>
                  <a:cubicBezTo>
                    <a:pt x="807" y="187"/>
                    <a:pt x="804" y="183"/>
                    <a:pt x="797" y="182"/>
                  </a:cubicBezTo>
                  <a:cubicBezTo>
                    <a:pt x="794" y="175"/>
                    <a:pt x="798" y="173"/>
                    <a:pt x="800" y="170"/>
                  </a:cubicBezTo>
                  <a:cubicBezTo>
                    <a:pt x="802" y="166"/>
                    <a:pt x="800" y="162"/>
                    <a:pt x="803" y="159"/>
                  </a:cubicBezTo>
                  <a:cubicBezTo>
                    <a:pt x="807" y="155"/>
                    <a:pt x="816" y="157"/>
                    <a:pt x="822" y="153"/>
                  </a:cubicBezTo>
                  <a:cubicBezTo>
                    <a:pt x="828" y="148"/>
                    <a:pt x="827" y="141"/>
                    <a:pt x="830" y="133"/>
                  </a:cubicBezTo>
                  <a:cubicBezTo>
                    <a:pt x="838" y="131"/>
                    <a:pt x="850" y="130"/>
                    <a:pt x="852" y="138"/>
                  </a:cubicBezTo>
                  <a:cubicBezTo>
                    <a:pt x="844" y="146"/>
                    <a:pt x="835" y="152"/>
                    <a:pt x="827" y="158"/>
                  </a:cubicBezTo>
                  <a:cubicBezTo>
                    <a:pt x="825" y="167"/>
                    <a:pt x="830" y="173"/>
                    <a:pt x="828" y="182"/>
                  </a:cubicBezTo>
                  <a:cubicBezTo>
                    <a:pt x="841" y="199"/>
                    <a:pt x="865" y="184"/>
                    <a:pt x="883" y="183"/>
                  </a:cubicBezTo>
                  <a:cubicBezTo>
                    <a:pt x="886" y="185"/>
                    <a:pt x="888" y="187"/>
                    <a:pt x="891" y="189"/>
                  </a:cubicBezTo>
                  <a:cubicBezTo>
                    <a:pt x="889" y="192"/>
                    <a:pt x="883" y="192"/>
                    <a:pt x="882" y="196"/>
                  </a:cubicBezTo>
                  <a:cubicBezTo>
                    <a:pt x="869" y="188"/>
                    <a:pt x="830" y="199"/>
                    <a:pt x="854" y="209"/>
                  </a:cubicBezTo>
                  <a:cubicBezTo>
                    <a:pt x="852" y="215"/>
                    <a:pt x="855" y="217"/>
                    <a:pt x="855" y="224"/>
                  </a:cubicBezTo>
                  <a:cubicBezTo>
                    <a:pt x="844" y="226"/>
                    <a:pt x="846" y="216"/>
                    <a:pt x="840" y="215"/>
                  </a:cubicBezTo>
                  <a:cubicBezTo>
                    <a:pt x="827" y="212"/>
                    <a:pt x="823" y="237"/>
                    <a:pt x="829" y="248"/>
                  </a:cubicBezTo>
                  <a:cubicBezTo>
                    <a:pt x="826" y="251"/>
                    <a:pt x="821" y="247"/>
                    <a:pt x="816" y="250"/>
                  </a:cubicBezTo>
                  <a:cubicBezTo>
                    <a:pt x="814" y="251"/>
                    <a:pt x="818" y="256"/>
                    <a:pt x="814" y="256"/>
                  </a:cubicBezTo>
                  <a:cubicBezTo>
                    <a:pt x="807" y="258"/>
                    <a:pt x="806" y="253"/>
                    <a:pt x="802" y="251"/>
                  </a:cubicBezTo>
                  <a:cubicBezTo>
                    <a:pt x="785" y="249"/>
                    <a:pt x="782" y="260"/>
                    <a:pt x="766" y="259"/>
                  </a:cubicBezTo>
                  <a:cubicBezTo>
                    <a:pt x="765" y="261"/>
                    <a:pt x="762" y="262"/>
                    <a:pt x="761" y="265"/>
                  </a:cubicBezTo>
                  <a:cubicBezTo>
                    <a:pt x="754" y="254"/>
                    <a:pt x="741" y="255"/>
                    <a:pt x="729" y="260"/>
                  </a:cubicBezTo>
                  <a:cubicBezTo>
                    <a:pt x="728" y="257"/>
                    <a:pt x="733" y="255"/>
                    <a:pt x="730" y="253"/>
                  </a:cubicBezTo>
                  <a:cubicBezTo>
                    <a:pt x="710" y="255"/>
                    <a:pt x="726" y="232"/>
                    <a:pt x="734" y="228"/>
                  </a:cubicBezTo>
                  <a:cubicBezTo>
                    <a:pt x="734" y="226"/>
                    <a:pt x="728" y="229"/>
                    <a:pt x="730" y="226"/>
                  </a:cubicBezTo>
                  <a:cubicBezTo>
                    <a:pt x="731" y="221"/>
                    <a:pt x="736" y="220"/>
                    <a:pt x="734" y="215"/>
                  </a:cubicBezTo>
                  <a:cubicBezTo>
                    <a:pt x="726" y="214"/>
                    <a:pt x="726" y="222"/>
                    <a:pt x="720" y="223"/>
                  </a:cubicBezTo>
                  <a:cubicBezTo>
                    <a:pt x="721" y="221"/>
                    <a:pt x="720" y="219"/>
                    <a:pt x="718" y="219"/>
                  </a:cubicBezTo>
                  <a:cubicBezTo>
                    <a:pt x="717" y="220"/>
                    <a:pt x="715" y="222"/>
                    <a:pt x="714" y="223"/>
                  </a:cubicBezTo>
                  <a:cubicBezTo>
                    <a:pt x="713" y="226"/>
                    <a:pt x="717" y="224"/>
                    <a:pt x="715" y="227"/>
                  </a:cubicBezTo>
                  <a:cubicBezTo>
                    <a:pt x="712" y="226"/>
                    <a:pt x="709" y="229"/>
                    <a:pt x="708" y="231"/>
                  </a:cubicBezTo>
                  <a:cubicBezTo>
                    <a:pt x="708" y="231"/>
                    <a:pt x="708" y="247"/>
                    <a:pt x="708" y="247"/>
                  </a:cubicBezTo>
                  <a:cubicBezTo>
                    <a:pt x="708" y="250"/>
                    <a:pt x="711" y="251"/>
                    <a:pt x="711" y="253"/>
                  </a:cubicBezTo>
                  <a:cubicBezTo>
                    <a:pt x="710" y="260"/>
                    <a:pt x="706" y="261"/>
                    <a:pt x="701" y="266"/>
                  </a:cubicBezTo>
                  <a:cubicBezTo>
                    <a:pt x="699" y="264"/>
                    <a:pt x="697" y="261"/>
                    <a:pt x="692" y="262"/>
                  </a:cubicBezTo>
                  <a:cubicBezTo>
                    <a:pt x="690" y="263"/>
                    <a:pt x="691" y="267"/>
                    <a:pt x="689" y="267"/>
                  </a:cubicBezTo>
                  <a:cubicBezTo>
                    <a:pt x="658" y="260"/>
                    <a:pt x="655" y="300"/>
                    <a:pt x="622" y="295"/>
                  </a:cubicBezTo>
                  <a:cubicBezTo>
                    <a:pt x="624" y="289"/>
                    <a:pt x="622" y="290"/>
                    <a:pt x="619" y="287"/>
                  </a:cubicBezTo>
                  <a:cubicBezTo>
                    <a:pt x="624" y="281"/>
                    <a:pt x="635" y="282"/>
                    <a:pt x="635" y="272"/>
                  </a:cubicBezTo>
                  <a:cubicBezTo>
                    <a:pt x="632" y="268"/>
                    <a:pt x="626" y="267"/>
                    <a:pt x="621" y="270"/>
                  </a:cubicBezTo>
                  <a:cubicBezTo>
                    <a:pt x="626" y="261"/>
                    <a:pt x="625" y="249"/>
                    <a:pt x="618" y="242"/>
                  </a:cubicBezTo>
                  <a:cubicBezTo>
                    <a:pt x="620" y="240"/>
                    <a:pt x="621" y="236"/>
                    <a:pt x="622" y="234"/>
                  </a:cubicBezTo>
                  <a:cubicBezTo>
                    <a:pt x="621" y="231"/>
                    <a:pt x="619" y="228"/>
                    <a:pt x="616" y="227"/>
                  </a:cubicBezTo>
                  <a:cubicBezTo>
                    <a:pt x="622" y="221"/>
                    <a:pt x="630" y="217"/>
                    <a:pt x="634" y="209"/>
                  </a:cubicBezTo>
                  <a:cubicBezTo>
                    <a:pt x="629" y="208"/>
                    <a:pt x="623" y="208"/>
                    <a:pt x="618" y="206"/>
                  </a:cubicBezTo>
                  <a:cubicBezTo>
                    <a:pt x="622" y="203"/>
                    <a:pt x="629" y="203"/>
                    <a:pt x="629" y="197"/>
                  </a:cubicBezTo>
                  <a:cubicBezTo>
                    <a:pt x="623" y="197"/>
                    <a:pt x="620" y="198"/>
                    <a:pt x="615" y="197"/>
                  </a:cubicBezTo>
                  <a:cubicBezTo>
                    <a:pt x="610" y="200"/>
                    <a:pt x="608" y="205"/>
                    <a:pt x="602" y="206"/>
                  </a:cubicBezTo>
                  <a:cubicBezTo>
                    <a:pt x="604" y="217"/>
                    <a:pt x="593" y="215"/>
                    <a:pt x="591" y="222"/>
                  </a:cubicBezTo>
                  <a:cubicBezTo>
                    <a:pt x="592" y="225"/>
                    <a:pt x="595" y="217"/>
                    <a:pt x="596" y="221"/>
                  </a:cubicBezTo>
                  <a:cubicBezTo>
                    <a:pt x="592" y="222"/>
                    <a:pt x="592" y="228"/>
                    <a:pt x="589" y="230"/>
                  </a:cubicBezTo>
                  <a:cubicBezTo>
                    <a:pt x="589" y="227"/>
                    <a:pt x="587" y="226"/>
                    <a:pt x="583" y="228"/>
                  </a:cubicBezTo>
                  <a:cubicBezTo>
                    <a:pt x="586" y="231"/>
                    <a:pt x="586" y="232"/>
                    <a:pt x="586" y="235"/>
                  </a:cubicBezTo>
                  <a:cubicBezTo>
                    <a:pt x="588" y="233"/>
                    <a:pt x="590" y="232"/>
                    <a:pt x="593" y="234"/>
                  </a:cubicBezTo>
                  <a:cubicBezTo>
                    <a:pt x="591" y="237"/>
                    <a:pt x="587" y="237"/>
                    <a:pt x="587" y="242"/>
                  </a:cubicBezTo>
                  <a:cubicBezTo>
                    <a:pt x="590" y="244"/>
                    <a:pt x="600" y="240"/>
                    <a:pt x="602" y="241"/>
                  </a:cubicBezTo>
                  <a:cubicBezTo>
                    <a:pt x="601" y="243"/>
                    <a:pt x="597" y="243"/>
                    <a:pt x="597" y="248"/>
                  </a:cubicBezTo>
                  <a:cubicBezTo>
                    <a:pt x="597" y="250"/>
                    <a:pt x="601" y="249"/>
                    <a:pt x="601" y="252"/>
                  </a:cubicBezTo>
                  <a:cubicBezTo>
                    <a:pt x="598" y="255"/>
                    <a:pt x="597" y="260"/>
                    <a:pt x="593" y="262"/>
                  </a:cubicBezTo>
                  <a:cubicBezTo>
                    <a:pt x="589" y="260"/>
                    <a:pt x="585" y="259"/>
                    <a:pt x="580" y="259"/>
                  </a:cubicBezTo>
                  <a:cubicBezTo>
                    <a:pt x="580" y="262"/>
                    <a:pt x="578" y="263"/>
                    <a:pt x="576" y="266"/>
                  </a:cubicBezTo>
                  <a:cubicBezTo>
                    <a:pt x="578" y="266"/>
                    <a:pt x="580" y="266"/>
                    <a:pt x="581" y="268"/>
                  </a:cubicBezTo>
                  <a:cubicBezTo>
                    <a:pt x="579" y="276"/>
                    <a:pt x="565" y="272"/>
                    <a:pt x="565" y="282"/>
                  </a:cubicBezTo>
                  <a:cubicBezTo>
                    <a:pt x="572" y="279"/>
                    <a:pt x="575" y="286"/>
                    <a:pt x="581" y="287"/>
                  </a:cubicBezTo>
                  <a:cubicBezTo>
                    <a:pt x="565" y="287"/>
                    <a:pt x="557" y="295"/>
                    <a:pt x="547" y="303"/>
                  </a:cubicBezTo>
                  <a:cubicBezTo>
                    <a:pt x="554" y="307"/>
                    <a:pt x="560" y="294"/>
                    <a:pt x="567" y="302"/>
                  </a:cubicBezTo>
                  <a:cubicBezTo>
                    <a:pt x="571" y="301"/>
                    <a:pt x="573" y="297"/>
                    <a:pt x="577" y="296"/>
                  </a:cubicBezTo>
                  <a:cubicBezTo>
                    <a:pt x="580" y="295"/>
                    <a:pt x="578" y="299"/>
                    <a:pt x="581" y="299"/>
                  </a:cubicBezTo>
                  <a:cubicBezTo>
                    <a:pt x="594" y="297"/>
                    <a:pt x="607" y="300"/>
                    <a:pt x="621" y="295"/>
                  </a:cubicBezTo>
                  <a:cubicBezTo>
                    <a:pt x="626" y="312"/>
                    <a:pt x="603" y="306"/>
                    <a:pt x="599" y="317"/>
                  </a:cubicBezTo>
                  <a:cubicBezTo>
                    <a:pt x="595" y="317"/>
                    <a:pt x="591" y="317"/>
                    <a:pt x="589" y="316"/>
                  </a:cubicBezTo>
                  <a:cubicBezTo>
                    <a:pt x="589" y="312"/>
                    <a:pt x="588" y="309"/>
                    <a:pt x="583" y="310"/>
                  </a:cubicBezTo>
                  <a:cubicBezTo>
                    <a:pt x="588" y="324"/>
                    <a:pt x="570" y="328"/>
                    <a:pt x="562" y="320"/>
                  </a:cubicBezTo>
                  <a:cubicBezTo>
                    <a:pt x="558" y="323"/>
                    <a:pt x="549" y="320"/>
                    <a:pt x="546" y="323"/>
                  </a:cubicBezTo>
                  <a:cubicBezTo>
                    <a:pt x="549" y="328"/>
                    <a:pt x="541" y="328"/>
                    <a:pt x="542" y="332"/>
                  </a:cubicBezTo>
                  <a:cubicBezTo>
                    <a:pt x="549" y="336"/>
                    <a:pt x="557" y="338"/>
                    <a:pt x="562" y="345"/>
                  </a:cubicBezTo>
                  <a:cubicBezTo>
                    <a:pt x="559" y="351"/>
                    <a:pt x="563" y="357"/>
                    <a:pt x="567" y="361"/>
                  </a:cubicBezTo>
                  <a:cubicBezTo>
                    <a:pt x="564" y="378"/>
                    <a:pt x="554" y="391"/>
                    <a:pt x="545" y="403"/>
                  </a:cubicBezTo>
                  <a:cubicBezTo>
                    <a:pt x="534" y="401"/>
                    <a:pt x="525" y="401"/>
                    <a:pt x="516" y="400"/>
                  </a:cubicBezTo>
                  <a:cubicBezTo>
                    <a:pt x="510" y="400"/>
                    <a:pt x="509" y="396"/>
                    <a:pt x="504" y="395"/>
                  </a:cubicBezTo>
                  <a:cubicBezTo>
                    <a:pt x="493" y="391"/>
                    <a:pt x="483" y="396"/>
                    <a:pt x="479" y="389"/>
                  </a:cubicBezTo>
                  <a:cubicBezTo>
                    <a:pt x="474" y="395"/>
                    <a:pt x="462" y="393"/>
                    <a:pt x="457" y="398"/>
                  </a:cubicBezTo>
                  <a:cubicBezTo>
                    <a:pt x="460" y="407"/>
                    <a:pt x="456" y="410"/>
                    <a:pt x="454" y="414"/>
                  </a:cubicBezTo>
                  <a:cubicBezTo>
                    <a:pt x="451" y="422"/>
                    <a:pt x="449" y="431"/>
                    <a:pt x="441" y="441"/>
                  </a:cubicBezTo>
                  <a:cubicBezTo>
                    <a:pt x="435" y="448"/>
                    <a:pt x="425" y="458"/>
                    <a:pt x="425" y="465"/>
                  </a:cubicBezTo>
                  <a:cubicBezTo>
                    <a:pt x="424" y="467"/>
                    <a:pt x="427" y="471"/>
                    <a:pt x="427" y="472"/>
                  </a:cubicBezTo>
                  <a:cubicBezTo>
                    <a:pt x="428" y="481"/>
                    <a:pt x="421" y="484"/>
                    <a:pt x="418" y="493"/>
                  </a:cubicBezTo>
                  <a:cubicBezTo>
                    <a:pt x="421" y="496"/>
                    <a:pt x="427" y="495"/>
                    <a:pt x="429" y="498"/>
                  </a:cubicBezTo>
                  <a:cubicBezTo>
                    <a:pt x="433" y="497"/>
                    <a:pt x="436" y="495"/>
                    <a:pt x="441" y="495"/>
                  </a:cubicBezTo>
                  <a:cubicBezTo>
                    <a:pt x="446" y="500"/>
                    <a:pt x="447" y="504"/>
                    <a:pt x="446" y="514"/>
                  </a:cubicBezTo>
                  <a:cubicBezTo>
                    <a:pt x="451" y="521"/>
                    <a:pt x="455" y="514"/>
                    <a:pt x="462" y="512"/>
                  </a:cubicBezTo>
                  <a:cubicBezTo>
                    <a:pt x="476" y="506"/>
                    <a:pt x="489" y="512"/>
                    <a:pt x="501" y="513"/>
                  </a:cubicBezTo>
                  <a:cubicBezTo>
                    <a:pt x="508" y="507"/>
                    <a:pt x="510" y="498"/>
                    <a:pt x="523" y="499"/>
                  </a:cubicBezTo>
                  <a:cubicBezTo>
                    <a:pt x="527" y="491"/>
                    <a:pt x="532" y="485"/>
                    <a:pt x="542" y="483"/>
                  </a:cubicBezTo>
                  <a:cubicBezTo>
                    <a:pt x="543" y="476"/>
                    <a:pt x="538" y="477"/>
                    <a:pt x="538" y="471"/>
                  </a:cubicBezTo>
                  <a:cubicBezTo>
                    <a:pt x="543" y="459"/>
                    <a:pt x="557" y="456"/>
                    <a:pt x="564" y="445"/>
                  </a:cubicBezTo>
                  <a:cubicBezTo>
                    <a:pt x="578" y="441"/>
                    <a:pt x="602" y="440"/>
                    <a:pt x="596" y="421"/>
                  </a:cubicBezTo>
                  <a:cubicBezTo>
                    <a:pt x="602" y="415"/>
                    <a:pt x="607" y="408"/>
                    <a:pt x="615" y="408"/>
                  </a:cubicBezTo>
                  <a:cubicBezTo>
                    <a:pt x="616" y="408"/>
                    <a:pt x="618" y="410"/>
                    <a:pt x="621" y="411"/>
                  </a:cubicBezTo>
                  <a:cubicBezTo>
                    <a:pt x="632" y="413"/>
                    <a:pt x="631" y="419"/>
                    <a:pt x="644" y="418"/>
                  </a:cubicBezTo>
                  <a:cubicBezTo>
                    <a:pt x="645" y="409"/>
                    <a:pt x="656" y="410"/>
                    <a:pt x="664" y="407"/>
                  </a:cubicBezTo>
                  <a:cubicBezTo>
                    <a:pt x="670" y="404"/>
                    <a:pt x="672" y="399"/>
                    <a:pt x="676" y="398"/>
                  </a:cubicBezTo>
                  <a:cubicBezTo>
                    <a:pt x="687" y="398"/>
                    <a:pt x="695" y="409"/>
                    <a:pt x="692" y="422"/>
                  </a:cubicBezTo>
                  <a:cubicBezTo>
                    <a:pt x="703" y="432"/>
                    <a:pt x="715" y="440"/>
                    <a:pt x="723" y="453"/>
                  </a:cubicBezTo>
                  <a:cubicBezTo>
                    <a:pt x="731" y="453"/>
                    <a:pt x="731" y="453"/>
                    <a:pt x="731" y="453"/>
                  </a:cubicBezTo>
                  <a:cubicBezTo>
                    <a:pt x="732" y="462"/>
                    <a:pt x="745" y="458"/>
                    <a:pt x="749" y="464"/>
                  </a:cubicBezTo>
                  <a:cubicBezTo>
                    <a:pt x="748" y="468"/>
                    <a:pt x="750" y="469"/>
                    <a:pt x="751" y="472"/>
                  </a:cubicBezTo>
                  <a:cubicBezTo>
                    <a:pt x="753" y="473"/>
                    <a:pt x="757" y="473"/>
                    <a:pt x="759" y="475"/>
                  </a:cubicBezTo>
                  <a:cubicBezTo>
                    <a:pt x="760" y="481"/>
                    <a:pt x="762" y="487"/>
                    <a:pt x="764" y="491"/>
                  </a:cubicBezTo>
                  <a:cubicBezTo>
                    <a:pt x="760" y="496"/>
                    <a:pt x="760" y="503"/>
                    <a:pt x="753" y="505"/>
                  </a:cubicBezTo>
                  <a:cubicBezTo>
                    <a:pt x="751" y="505"/>
                    <a:pt x="747" y="504"/>
                    <a:pt x="743" y="504"/>
                  </a:cubicBezTo>
                  <a:cubicBezTo>
                    <a:pt x="733" y="505"/>
                    <a:pt x="728" y="509"/>
                    <a:pt x="722" y="503"/>
                  </a:cubicBezTo>
                  <a:cubicBezTo>
                    <a:pt x="718" y="506"/>
                    <a:pt x="716" y="504"/>
                    <a:pt x="710" y="504"/>
                  </a:cubicBezTo>
                  <a:cubicBezTo>
                    <a:pt x="709" y="507"/>
                    <a:pt x="707" y="508"/>
                    <a:pt x="709" y="512"/>
                  </a:cubicBezTo>
                  <a:cubicBezTo>
                    <a:pt x="717" y="512"/>
                    <a:pt x="720" y="521"/>
                    <a:pt x="727" y="524"/>
                  </a:cubicBezTo>
                  <a:cubicBezTo>
                    <a:pt x="729" y="525"/>
                    <a:pt x="732" y="523"/>
                    <a:pt x="734" y="524"/>
                  </a:cubicBezTo>
                  <a:cubicBezTo>
                    <a:pt x="738" y="526"/>
                    <a:pt x="742" y="535"/>
                    <a:pt x="748" y="530"/>
                  </a:cubicBezTo>
                  <a:cubicBezTo>
                    <a:pt x="750" y="523"/>
                    <a:pt x="746" y="512"/>
                    <a:pt x="754" y="510"/>
                  </a:cubicBezTo>
                  <a:cubicBezTo>
                    <a:pt x="768" y="513"/>
                    <a:pt x="768" y="494"/>
                    <a:pt x="780" y="492"/>
                  </a:cubicBezTo>
                  <a:cubicBezTo>
                    <a:pt x="781" y="483"/>
                    <a:pt x="773" y="483"/>
                    <a:pt x="771" y="477"/>
                  </a:cubicBezTo>
                  <a:cubicBezTo>
                    <a:pt x="774" y="474"/>
                    <a:pt x="774" y="468"/>
                    <a:pt x="779" y="467"/>
                  </a:cubicBezTo>
                  <a:cubicBezTo>
                    <a:pt x="788" y="467"/>
                    <a:pt x="791" y="482"/>
                    <a:pt x="800" y="475"/>
                  </a:cubicBezTo>
                  <a:cubicBezTo>
                    <a:pt x="796" y="458"/>
                    <a:pt x="776" y="458"/>
                    <a:pt x="764" y="449"/>
                  </a:cubicBezTo>
                  <a:cubicBezTo>
                    <a:pt x="766" y="447"/>
                    <a:pt x="768" y="446"/>
                    <a:pt x="767" y="442"/>
                  </a:cubicBezTo>
                  <a:cubicBezTo>
                    <a:pt x="757" y="440"/>
                    <a:pt x="749" y="439"/>
                    <a:pt x="743" y="433"/>
                  </a:cubicBezTo>
                  <a:cubicBezTo>
                    <a:pt x="739" y="428"/>
                    <a:pt x="739" y="420"/>
                    <a:pt x="736" y="414"/>
                  </a:cubicBezTo>
                  <a:cubicBezTo>
                    <a:pt x="731" y="406"/>
                    <a:pt x="720" y="405"/>
                    <a:pt x="720" y="395"/>
                  </a:cubicBezTo>
                  <a:cubicBezTo>
                    <a:pt x="724" y="394"/>
                    <a:pt x="725" y="389"/>
                    <a:pt x="722" y="386"/>
                  </a:cubicBezTo>
                  <a:cubicBezTo>
                    <a:pt x="726" y="383"/>
                    <a:pt x="734" y="378"/>
                    <a:pt x="740" y="381"/>
                  </a:cubicBezTo>
                  <a:cubicBezTo>
                    <a:pt x="740" y="386"/>
                    <a:pt x="736" y="388"/>
                    <a:pt x="738" y="394"/>
                  </a:cubicBezTo>
                  <a:cubicBezTo>
                    <a:pt x="744" y="394"/>
                    <a:pt x="742" y="388"/>
                    <a:pt x="748" y="390"/>
                  </a:cubicBezTo>
                  <a:cubicBezTo>
                    <a:pt x="751" y="402"/>
                    <a:pt x="761" y="406"/>
                    <a:pt x="765" y="417"/>
                  </a:cubicBezTo>
                  <a:cubicBezTo>
                    <a:pt x="770" y="416"/>
                    <a:pt x="773" y="418"/>
                    <a:pt x="777" y="418"/>
                  </a:cubicBezTo>
                  <a:cubicBezTo>
                    <a:pt x="778" y="420"/>
                    <a:pt x="778" y="423"/>
                    <a:pt x="780" y="424"/>
                  </a:cubicBezTo>
                  <a:cubicBezTo>
                    <a:pt x="795" y="428"/>
                    <a:pt x="801" y="441"/>
                    <a:pt x="814" y="446"/>
                  </a:cubicBezTo>
                  <a:cubicBezTo>
                    <a:pt x="813" y="455"/>
                    <a:pt x="811" y="463"/>
                    <a:pt x="809" y="469"/>
                  </a:cubicBezTo>
                  <a:cubicBezTo>
                    <a:pt x="811" y="473"/>
                    <a:pt x="818" y="473"/>
                    <a:pt x="817" y="481"/>
                  </a:cubicBezTo>
                  <a:cubicBezTo>
                    <a:pt x="827" y="485"/>
                    <a:pt x="831" y="496"/>
                    <a:pt x="838" y="503"/>
                  </a:cubicBezTo>
                  <a:cubicBezTo>
                    <a:pt x="841" y="504"/>
                    <a:pt x="847" y="501"/>
                    <a:pt x="847" y="505"/>
                  </a:cubicBezTo>
                  <a:cubicBezTo>
                    <a:pt x="845" y="507"/>
                    <a:pt x="840" y="506"/>
                    <a:pt x="839" y="510"/>
                  </a:cubicBezTo>
                  <a:cubicBezTo>
                    <a:pt x="843" y="516"/>
                    <a:pt x="846" y="518"/>
                    <a:pt x="844" y="529"/>
                  </a:cubicBezTo>
                  <a:cubicBezTo>
                    <a:pt x="848" y="531"/>
                    <a:pt x="851" y="529"/>
                    <a:pt x="856" y="529"/>
                  </a:cubicBezTo>
                  <a:cubicBezTo>
                    <a:pt x="856" y="531"/>
                    <a:pt x="857" y="532"/>
                    <a:pt x="858" y="535"/>
                  </a:cubicBezTo>
                  <a:cubicBezTo>
                    <a:pt x="863" y="530"/>
                    <a:pt x="865" y="538"/>
                    <a:pt x="870" y="536"/>
                  </a:cubicBezTo>
                  <a:cubicBezTo>
                    <a:pt x="870" y="528"/>
                    <a:pt x="864" y="521"/>
                    <a:pt x="864" y="516"/>
                  </a:cubicBezTo>
                  <a:cubicBezTo>
                    <a:pt x="869" y="516"/>
                    <a:pt x="868" y="521"/>
                    <a:pt x="874" y="519"/>
                  </a:cubicBezTo>
                  <a:cubicBezTo>
                    <a:pt x="873" y="511"/>
                    <a:pt x="857" y="510"/>
                    <a:pt x="852" y="503"/>
                  </a:cubicBezTo>
                  <a:cubicBezTo>
                    <a:pt x="863" y="501"/>
                    <a:pt x="870" y="511"/>
                    <a:pt x="881" y="513"/>
                  </a:cubicBezTo>
                  <a:cubicBezTo>
                    <a:pt x="883" y="510"/>
                    <a:pt x="881" y="506"/>
                    <a:pt x="880" y="504"/>
                  </a:cubicBezTo>
                  <a:cubicBezTo>
                    <a:pt x="883" y="503"/>
                    <a:pt x="886" y="502"/>
                    <a:pt x="885" y="496"/>
                  </a:cubicBezTo>
                  <a:cubicBezTo>
                    <a:pt x="881" y="496"/>
                    <a:pt x="876" y="496"/>
                    <a:pt x="873" y="493"/>
                  </a:cubicBezTo>
                  <a:cubicBezTo>
                    <a:pt x="867" y="489"/>
                    <a:pt x="860" y="474"/>
                    <a:pt x="858" y="467"/>
                  </a:cubicBezTo>
                  <a:cubicBezTo>
                    <a:pt x="864" y="469"/>
                    <a:pt x="866" y="474"/>
                    <a:pt x="872" y="476"/>
                  </a:cubicBezTo>
                  <a:cubicBezTo>
                    <a:pt x="878" y="473"/>
                    <a:pt x="872" y="463"/>
                    <a:pt x="880" y="461"/>
                  </a:cubicBezTo>
                  <a:cubicBezTo>
                    <a:pt x="884" y="461"/>
                    <a:pt x="884" y="464"/>
                    <a:pt x="887" y="465"/>
                  </a:cubicBezTo>
                  <a:cubicBezTo>
                    <a:pt x="891" y="463"/>
                    <a:pt x="891" y="459"/>
                    <a:pt x="895" y="459"/>
                  </a:cubicBezTo>
                  <a:cubicBezTo>
                    <a:pt x="900" y="461"/>
                    <a:pt x="908" y="461"/>
                    <a:pt x="908" y="467"/>
                  </a:cubicBezTo>
                  <a:cubicBezTo>
                    <a:pt x="906" y="469"/>
                    <a:pt x="900" y="468"/>
                    <a:pt x="902" y="473"/>
                  </a:cubicBezTo>
                  <a:cubicBezTo>
                    <a:pt x="906" y="477"/>
                    <a:pt x="907" y="470"/>
                    <a:pt x="911" y="470"/>
                  </a:cubicBezTo>
                  <a:cubicBezTo>
                    <a:pt x="910" y="479"/>
                    <a:pt x="910" y="484"/>
                    <a:pt x="906" y="490"/>
                  </a:cubicBezTo>
                  <a:cubicBezTo>
                    <a:pt x="910" y="490"/>
                    <a:pt x="912" y="492"/>
                    <a:pt x="916" y="492"/>
                  </a:cubicBezTo>
                  <a:cubicBezTo>
                    <a:pt x="920" y="487"/>
                    <a:pt x="914" y="487"/>
                    <a:pt x="912" y="484"/>
                  </a:cubicBezTo>
                  <a:cubicBezTo>
                    <a:pt x="922" y="483"/>
                    <a:pt x="922" y="498"/>
                    <a:pt x="923" y="502"/>
                  </a:cubicBezTo>
                  <a:cubicBezTo>
                    <a:pt x="919" y="497"/>
                    <a:pt x="915" y="497"/>
                    <a:pt x="907" y="498"/>
                  </a:cubicBezTo>
                  <a:cubicBezTo>
                    <a:pt x="907" y="504"/>
                    <a:pt x="907" y="504"/>
                    <a:pt x="907" y="504"/>
                  </a:cubicBezTo>
                  <a:cubicBezTo>
                    <a:pt x="918" y="505"/>
                    <a:pt x="933" y="506"/>
                    <a:pt x="930" y="519"/>
                  </a:cubicBezTo>
                  <a:cubicBezTo>
                    <a:pt x="936" y="523"/>
                    <a:pt x="943" y="525"/>
                    <a:pt x="946" y="531"/>
                  </a:cubicBezTo>
                  <a:cubicBezTo>
                    <a:pt x="957" y="529"/>
                    <a:pt x="965" y="543"/>
                    <a:pt x="980" y="537"/>
                  </a:cubicBezTo>
                  <a:cubicBezTo>
                    <a:pt x="978" y="524"/>
                    <a:pt x="995" y="524"/>
                    <a:pt x="1003" y="530"/>
                  </a:cubicBezTo>
                  <a:cubicBezTo>
                    <a:pt x="1006" y="532"/>
                    <a:pt x="1006" y="537"/>
                    <a:pt x="1010" y="539"/>
                  </a:cubicBezTo>
                  <a:cubicBezTo>
                    <a:pt x="1030" y="545"/>
                    <a:pt x="1038" y="516"/>
                    <a:pt x="1055" y="528"/>
                  </a:cubicBezTo>
                  <a:cubicBezTo>
                    <a:pt x="1059" y="527"/>
                    <a:pt x="1058" y="522"/>
                    <a:pt x="1063" y="522"/>
                  </a:cubicBezTo>
                  <a:cubicBezTo>
                    <a:pt x="1064" y="533"/>
                    <a:pt x="1056" y="553"/>
                    <a:pt x="1068" y="561"/>
                  </a:cubicBezTo>
                  <a:cubicBezTo>
                    <a:pt x="1054" y="576"/>
                    <a:pt x="1068" y="603"/>
                    <a:pt x="1059" y="616"/>
                  </a:cubicBezTo>
                  <a:cubicBezTo>
                    <a:pt x="1054" y="616"/>
                    <a:pt x="1054" y="616"/>
                    <a:pt x="1054" y="616"/>
                  </a:cubicBezTo>
                  <a:cubicBezTo>
                    <a:pt x="1052" y="630"/>
                    <a:pt x="1039" y="623"/>
                    <a:pt x="1027" y="625"/>
                  </a:cubicBezTo>
                  <a:cubicBezTo>
                    <a:pt x="1022" y="616"/>
                    <a:pt x="1015" y="621"/>
                    <a:pt x="1005" y="622"/>
                  </a:cubicBezTo>
                  <a:cubicBezTo>
                    <a:pt x="1002" y="622"/>
                    <a:pt x="1000" y="621"/>
                    <a:pt x="999" y="621"/>
                  </a:cubicBezTo>
                  <a:cubicBezTo>
                    <a:pt x="990" y="623"/>
                    <a:pt x="983" y="633"/>
                    <a:pt x="977" y="634"/>
                  </a:cubicBezTo>
                  <a:cubicBezTo>
                    <a:pt x="970" y="628"/>
                    <a:pt x="960" y="632"/>
                    <a:pt x="952" y="630"/>
                  </a:cubicBezTo>
                  <a:cubicBezTo>
                    <a:pt x="949" y="629"/>
                    <a:pt x="947" y="626"/>
                    <a:pt x="944" y="625"/>
                  </a:cubicBezTo>
                  <a:cubicBezTo>
                    <a:pt x="942" y="624"/>
                    <a:pt x="938" y="626"/>
                    <a:pt x="934" y="625"/>
                  </a:cubicBezTo>
                  <a:cubicBezTo>
                    <a:pt x="925" y="624"/>
                    <a:pt x="920" y="619"/>
                    <a:pt x="913" y="624"/>
                  </a:cubicBezTo>
                  <a:cubicBezTo>
                    <a:pt x="911" y="622"/>
                    <a:pt x="908" y="621"/>
                    <a:pt x="908" y="616"/>
                  </a:cubicBezTo>
                  <a:cubicBezTo>
                    <a:pt x="895" y="618"/>
                    <a:pt x="893" y="610"/>
                    <a:pt x="879" y="612"/>
                  </a:cubicBezTo>
                  <a:cubicBezTo>
                    <a:pt x="875" y="611"/>
                    <a:pt x="874" y="606"/>
                    <a:pt x="872" y="603"/>
                  </a:cubicBezTo>
                  <a:cubicBezTo>
                    <a:pt x="866" y="605"/>
                    <a:pt x="862" y="600"/>
                    <a:pt x="857" y="600"/>
                  </a:cubicBezTo>
                  <a:cubicBezTo>
                    <a:pt x="850" y="599"/>
                    <a:pt x="847" y="602"/>
                    <a:pt x="843" y="603"/>
                  </a:cubicBezTo>
                  <a:cubicBezTo>
                    <a:pt x="839" y="604"/>
                    <a:pt x="834" y="602"/>
                    <a:pt x="834" y="603"/>
                  </a:cubicBezTo>
                  <a:cubicBezTo>
                    <a:pt x="831" y="604"/>
                    <a:pt x="822" y="612"/>
                    <a:pt x="821" y="615"/>
                  </a:cubicBezTo>
                  <a:cubicBezTo>
                    <a:pt x="819" y="622"/>
                    <a:pt x="827" y="628"/>
                    <a:pt x="826" y="635"/>
                  </a:cubicBezTo>
                  <a:cubicBezTo>
                    <a:pt x="825" y="641"/>
                    <a:pt x="818" y="646"/>
                    <a:pt x="813" y="647"/>
                  </a:cubicBezTo>
                  <a:cubicBezTo>
                    <a:pt x="803" y="649"/>
                    <a:pt x="802" y="644"/>
                    <a:pt x="797" y="640"/>
                  </a:cubicBezTo>
                  <a:cubicBezTo>
                    <a:pt x="792" y="636"/>
                    <a:pt x="782" y="631"/>
                    <a:pt x="778" y="630"/>
                  </a:cubicBezTo>
                  <a:cubicBezTo>
                    <a:pt x="768" y="628"/>
                    <a:pt x="760" y="632"/>
                    <a:pt x="754" y="628"/>
                  </a:cubicBezTo>
                  <a:cubicBezTo>
                    <a:pt x="748" y="624"/>
                    <a:pt x="751" y="613"/>
                    <a:pt x="744" y="608"/>
                  </a:cubicBezTo>
                  <a:cubicBezTo>
                    <a:pt x="743" y="606"/>
                    <a:pt x="738" y="606"/>
                    <a:pt x="735" y="605"/>
                  </a:cubicBezTo>
                  <a:cubicBezTo>
                    <a:pt x="731" y="603"/>
                    <a:pt x="729" y="600"/>
                    <a:pt x="727" y="599"/>
                  </a:cubicBezTo>
                  <a:cubicBezTo>
                    <a:pt x="718" y="596"/>
                    <a:pt x="709" y="601"/>
                    <a:pt x="701" y="599"/>
                  </a:cubicBezTo>
                  <a:cubicBezTo>
                    <a:pt x="693" y="597"/>
                    <a:pt x="691" y="590"/>
                    <a:pt x="683" y="588"/>
                  </a:cubicBezTo>
                  <a:cubicBezTo>
                    <a:pt x="682" y="586"/>
                    <a:pt x="681" y="584"/>
                    <a:pt x="680" y="582"/>
                  </a:cubicBezTo>
                  <a:cubicBezTo>
                    <a:pt x="672" y="582"/>
                    <a:pt x="667" y="579"/>
                    <a:pt x="666" y="573"/>
                  </a:cubicBezTo>
                  <a:cubicBezTo>
                    <a:pt x="673" y="563"/>
                    <a:pt x="687" y="562"/>
                    <a:pt x="685" y="550"/>
                  </a:cubicBezTo>
                  <a:cubicBezTo>
                    <a:pt x="684" y="546"/>
                    <a:pt x="677" y="544"/>
                    <a:pt x="677" y="539"/>
                  </a:cubicBezTo>
                  <a:cubicBezTo>
                    <a:pt x="676" y="531"/>
                    <a:pt x="690" y="530"/>
                    <a:pt x="687" y="521"/>
                  </a:cubicBezTo>
                  <a:cubicBezTo>
                    <a:pt x="680" y="521"/>
                    <a:pt x="678" y="529"/>
                    <a:pt x="673" y="527"/>
                  </a:cubicBezTo>
                  <a:cubicBezTo>
                    <a:pt x="672" y="522"/>
                    <a:pt x="677" y="521"/>
                    <a:pt x="674" y="516"/>
                  </a:cubicBezTo>
                  <a:cubicBezTo>
                    <a:pt x="663" y="512"/>
                    <a:pt x="646" y="528"/>
                    <a:pt x="635" y="516"/>
                  </a:cubicBezTo>
                  <a:cubicBezTo>
                    <a:pt x="631" y="521"/>
                    <a:pt x="623" y="519"/>
                    <a:pt x="619" y="515"/>
                  </a:cubicBezTo>
                  <a:cubicBezTo>
                    <a:pt x="615" y="521"/>
                    <a:pt x="608" y="518"/>
                    <a:pt x="602" y="522"/>
                  </a:cubicBezTo>
                  <a:cubicBezTo>
                    <a:pt x="590" y="516"/>
                    <a:pt x="573" y="518"/>
                    <a:pt x="559" y="518"/>
                  </a:cubicBezTo>
                  <a:cubicBezTo>
                    <a:pt x="545" y="519"/>
                    <a:pt x="529" y="519"/>
                    <a:pt x="523" y="529"/>
                  </a:cubicBezTo>
                  <a:cubicBezTo>
                    <a:pt x="505" y="526"/>
                    <a:pt x="499" y="548"/>
                    <a:pt x="484" y="534"/>
                  </a:cubicBezTo>
                  <a:cubicBezTo>
                    <a:pt x="475" y="537"/>
                    <a:pt x="470" y="529"/>
                    <a:pt x="462" y="534"/>
                  </a:cubicBezTo>
                  <a:cubicBezTo>
                    <a:pt x="457" y="531"/>
                    <a:pt x="455" y="526"/>
                    <a:pt x="452" y="520"/>
                  </a:cubicBezTo>
                  <a:cubicBezTo>
                    <a:pt x="446" y="520"/>
                    <a:pt x="446" y="520"/>
                    <a:pt x="446" y="520"/>
                  </a:cubicBezTo>
                  <a:cubicBezTo>
                    <a:pt x="436" y="536"/>
                    <a:pt x="428" y="552"/>
                    <a:pt x="406" y="555"/>
                  </a:cubicBezTo>
                  <a:cubicBezTo>
                    <a:pt x="394" y="554"/>
                    <a:pt x="392" y="564"/>
                    <a:pt x="383" y="567"/>
                  </a:cubicBezTo>
                  <a:cubicBezTo>
                    <a:pt x="382" y="577"/>
                    <a:pt x="373" y="580"/>
                    <a:pt x="369" y="587"/>
                  </a:cubicBezTo>
                  <a:cubicBezTo>
                    <a:pt x="370" y="593"/>
                    <a:pt x="367" y="596"/>
                    <a:pt x="365" y="598"/>
                  </a:cubicBezTo>
                  <a:cubicBezTo>
                    <a:pt x="367" y="603"/>
                    <a:pt x="365" y="608"/>
                    <a:pt x="363" y="611"/>
                  </a:cubicBezTo>
                  <a:cubicBezTo>
                    <a:pt x="353" y="614"/>
                    <a:pt x="353" y="626"/>
                    <a:pt x="340" y="626"/>
                  </a:cubicBezTo>
                  <a:cubicBezTo>
                    <a:pt x="336" y="635"/>
                    <a:pt x="323" y="638"/>
                    <a:pt x="311" y="636"/>
                  </a:cubicBezTo>
                  <a:cubicBezTo>
                    <a:pt x="303" y="642"/>
                    <a:pt x="302" y="655"/>
                    <a:pt x="292" y="659"/>
                  </a:cubicBezTo>
                  <a:cubicBezTo>
                    <a:pt x="287" y="658"/>
                    <a:pt x="286" y="658"/>
                    <a:pt x="282" y="659"/>
                  </a:cubicBezTo>
                  <a:cubicBezTo>
                    <a:pt x="282" y="667"/>
                    <a:pt x="277" y="670"/>
                    <a:pt x="273" y="674"/>
                  </a:cubicBezTo>
                  <a:cubicBezTo>
                    <a:pt x="273" y="684"/>
                    <a:pt x="273" y="684"/>
                    <a:pt x="273" y="684"/>
                  </a:cubicBezTo>
                  <a:cubicBezTo>
                    <a:pt x="267" y="688"/>
                    <a:pt x="263" y="695"/>
                    <a:pt x="255" y="696"/>
                  </a:cubicBezTo>
                  <a:cubicBezTo>
                    <a:pt x="252" y="705"/>
                    <a:pt x="246" y="711"/>
                    <a:pt x="242" y="719"/>
                  </a:cubicBezTo>
                  <a:cubicBezTo>
                    <a:pt x="233" y="723"/>
                    <a:pt x="230" y="729"/>
                    <a:pt x="230" y="738"/>
                  </a:cubicBezTo>
                  <a:cubicBezTo>
                    <a:pt x="229" y="745"/>
                    <a:pt x="233" y="751"/>
                    <a:pt x="234" y="755"/>
                  </a:cubicBezTo>
                  <a:cubicBezTo>
                    <a:pt x="234" y="761"/>
                    <a:pt x="229" y="767"/>
                    <a:pt x="228" y="773"/>
                  </a:cubicBezTo>
                  <a:cubicBezTo>
                    <a:pt x="227" y="779"/>
                    <a:pt x="230" y="785"/>
                    <a:pt x="230" y="791"/>
                  </a:cubicBezTo>
                  <a:cubicBezTo>
                    <a:pt x="228" y="807"/>
                    <a:pt x="214" y="817"/>
                    <a:pt x="215" y="834"/>
                  </a:cubicBezTo>
                  <a:cubicBezTo>
                    <a:pt x="213" y="838"/>
                    <a:pt x="204" y="841"/>
                    <a:pt x="203" y="848"/>
                  </a:cubicBezTo>
                  <a:cubicBezTo>
                    <a:pt x="202" y="853"/>
                    <a:pt x="209" y="862"/>
                    <a:pt x="208" y="872"/>
                  </a:cubicBezTo>
                  <a:cubicBezTo>
                    <a:pt x="207" y="878"/>
                    <a:pt x="202" y="883"/>
                    <a:pt x="203" y="887"/>
                  </a:cubicBezTo>
                  <a:cubicBezTo>
                    <a:pt x="203" y="892"/>
                    <a:pt x="208" y="895"/>
                    <a:pt x="210" y="897"/>
                  </a:cubicBezTo>
                  <a:cubicBezTo>
                    <a:pt x="209" y="899"/>
                    <a:pt x="209" y="901"/>
                    <a:pt x="210" y="903"/>
                  </a:cubicBezTo>
                  <a:cubicBezTo>
                    <a:pt x="212" y="905"/>
                    <a:pt x="215" y="902"/>
                    <a:pt x="217" y="905"/>
                  </a:cubicBezTo>
                  <a:cubicBezTo>
                    <a:pt x="217" y="917"/>
                    <a:pt x="222" y="924"/>
                    <a:pt x="228" y="929"/>
                  </a:cubicBezTo>
                  <a:cubicBezTo>
                    <a:pt x="228" y="943"/>
                    <a:pt x="249" y="953"/>
                    <a:pt x="242" y="971"/>
                  </a:cubicBezTo>
                  <a:cubicBezTo>
                    <a:pt x="246" y="980"/>
                    <a:pt x="248" y="990"/>
                    <a:pt x="253" y="997"/>
                  </a:cubicBezTo>
                  <a:cubicBezTo>
                    <a:pt x="255" y="999"/>
                    <a:pt x="258" y="999"/>
                    <a:pt x="259" y="1000"/>
                  </a:cubicBezTo>
                  <a:cubicBezTo>
                    <a:pt x="265" y="1005"/>
                    <a:pt x="269" y="1015"/>
                    <a:pt x="276" y="1021"/>
                  </a:cubicBezTo>
                  <a:cubicBezTo>
                    <a:pt x="279" y="1024"/>
                    <a:pt x="281" y="1024"/>
                    <a:pt x="283" y="1027"/>
                  </a:cubicBezTo>
                  <a:cubicBezTo>
                    <a:pt x="287" y="1032"/>
                    <a:pt x="289" y="1039"/>
                    <a:pt x="293" y="1044"/>
                  </a:cubicBezTo>
                  <a:cubicBezTo>
                    <a:pt x="297" y="1048"/>
                    <a:pt x="304" y="1051"/>
                    <a:pt x="308" y="1055"/>
                  </a:cubicBezTo>
                  <a:cubicBezTo>
                    <a:pt x="312" y="1058"/>
                    <a:pt x="314" y="1062"/>
                    <a:pt x="317" y="1065"/>
                  </a:cubicBezTo>
                  <a:cubicBezTo>
                    <a:pt x="325" y="1070"/>
                    <a:pt x="331" y="1063"/>
                    <a:pt x="343" y="1062"/>
                  </a:cubicBezTo>
                  <a:cubicBezTo>
                    <a:pt x="350" y="1061"/>
                    <a:pt x="357" y="1063"/>
                    <a:pt x="363" y="1064"/>
                  </a:cubicBezTo>
                  <a:cubicBezTo>
                    <a:pt x="374" y="1064"/>
                    <a:pt x="378" y="1062"/>
                    <a:pt x="384" y="1068"/>
                  </a:cubicBezTo>
                  <a:cubicBezTo>
                    <a:pt x="387" y="1069"/>
                    <a:pt x="389" y="1068"/>
                    <a:pt x="391" y="1067"/>
                  </a:cubicBezTo>
                  <a:cubicBezTo>
                    <a:pt x="394" y="1075"/>
                    <a:pt x="405" y="1075"/>
                    <a:pt x="409" y="1082"/>
                  </a:cubicBezTo>
                  <a:cubicBezTo>
                    <a:pt x="425" y="1078"/>
                    <a:pt x="440" y="1078"/>
                    <a:pt x="452" y="1070"/>
                  </a:cubicBezTo>
                  <a:cubicBezTo>
                    <a:pt x="460" y="1078"/>
                    <a:pt x="467" y="1068"/>
                    <a:pt x="474" y="1067"/>
                  </a:cubicBezTo>
                  <a:cubicBezTo>
                    <a:pt x="477" y="1067"/>
                    <a:pt x="481" y="1070"/>
                    <a:pt x="486" y="1069"/>
                  </a:cubicBezTo>
                  <a:cubicBezTo>
                    <a:pt x="489" y="1069"/>
                    <a:pt x="491" y="1067"/>
                    <a:pt x="493" y="1067"/>
                  </a:cubicBezTo>
                  <a:cubicBezTo>
                    <a:pt x="496" y="1068"/>
                    <a:pt x="498" y="1071"/>
                    <a:pt x="501" y="1071"/>
                  </a:cubicBezTo>
                  <a:cubicBezTo>
                    <a:pt x="504" y="1072"/>
                    <a:pt x="507" y="1070"/>
                    <a:pt x="509" y="1069"/>
                  </a:cubicBezTo>
                  <a:cubicBezTo>
                    <a:pt x="525" y="1069"/>
                    <a:pt x="539" y="1084"/>
                    <a:pt x="543" y="1095"/>
                  </a:cubicBezTo>
                  <a:cubicBezTo>
                    <a:pt x="547" y="1108"/>
                    <a:pt x="548" y="1115"/>
                    <a:pt x="568" y="1113"/>
                  </a:cubicBezTo>
                  <a:cubicBezTo>
                    <a:pt x="569" y="1112"/>
                    <a:pt x="568" y="1109"/>
                    <a:pt x="571" y="1110"/>
                  </a:cubicBezTo>
                  <a:cubicBezTo>
                    <a:pt x="580" y="1109"/>
                    <a:pt x="585" y="1116"/>
                    <a:pt x="592" y="1115"/>
                  </a:cubicBezTo>
                  <a:cubicBezTo>
                    <a:pt x="597" y="1115"/>
                    <a:pt x="604" y="1108"/>
                    <a:pt x="609" y="1115"/>
                  </a:cubicBezTo>
                  <a:cubicBezTo>
                    <a:pt x="610" y="1128"/>
                    <a:pt x="627" y="1131"/>
                    <a:pt x="629" y="1141"/>
                  </a:cubicBezTo>
                  <a:cubicBezTo>
                    <a:pt x="631" y="1149"/>
                    <a:pt x="623" y="1151"/>
                    <a:pt x="625" y="1162"/>
                  </a:cubicBezTo>
                  <a:cubicBezTo>
                    <a:pt x="623" y="1165"/>
                    <a:pt x="619" y="1166"/>
                    <a:pt x="617" y="1169"/>
                  </a:cubicBezTo>
                  <a:cubicBezTo>
                    <a:pt x="618" y="1175"/>
                    <a:pt x="623" y="1177"/>
                    <a:pt x="623" y="1184"/>
                  </a:cubicBezTo>
                  <a:cubicBezTo>
                    <a:pt x="622" y="1185"/>
                    <a:pt x="619" y="1184"/>
                    <a:pt x="618" y="1186"/>
                  </a:cubicBezTo>
                  <a:cubicBezTo>
                    <a:pt x="619" y="1196"/>
                    <a:pt x="616" y="1203"/>
                    <a:pt x="607" y="1203"/>
                  </a:cubicBezTo>
                  <a:cubicBezTo>
                    <a:pt x="608" y="1210"/>
                    <a:pt x="613" y="1213"/>
                    <a:pt x="618" y="1216"/>
                  </a:cubicBezTo>
                  <a:cubicBezTo>
                    <a:pt x="619" y="1219"/>
                    <a:pt x="617" y="1219"/>
                    <a:pt x="618" y="1222"/>
                  </a:cubicBezTo>
                  <a:cubicBezTo>
                    <a:pt x="622" y="1224"/>
                    <a:pt x="625" y="1227"/>
                    <a:pt x="626" y="1233"/>
                  </a:cubicBezTo>
                  <a:cubicBezTo>
                    <a:pt x="633" y="1233"/>
                    <a:pt x="632" y="1237"/>
                    <a:pt x="635" y="1240"/>
                  </a:cubicBezTo>
                  <a:cubicBezTo>
                    <a:pt x="637" y="1243"/>
                    <a:pt x="642" y="1244"/>
                    <a:pt x="643" y="1246"/>
                  </a:cubicBezTo>
                  <a:cubicBezTo>
                    <a:pt x="646" y="1249"/>
                    <a:pt x="646" y="1252"/>
                    <a:pt x="648" y="1255"/>
                  </a:cubicBezTo>
                  <a:cubicBezTo>
                    <a:pt x="653" y="1260"/>
                    <a:pt x="661" y="1262"/>
                    <a:pt x="666" y="1267"/>
                  </a:cubicBezTo>
                  <a:cubicBezTo>
                    <a:pt x="673" y="1274"/>
                    <a:pt x="674" y="1284"/>
                    <a:pt x="681" y="1291"/>
                  </a:cubicBezTo>
                  <a:cubicBezTo>
                    <a:pt x="681" y="1294"/>
                    <a:pt x="678" y="1293"/>
                    <a:pt x="679" y="1297"/>
                  </a:cubicBezTo>
                  <a:cubicBezTo>
                    <a:pt x="682" y="1301"/>
                    <a:pt x="688" y="1303"/>
                    <a:pt x="688" y="1311"/>
                  </a:cubicBezTo>
                  <a:cubicBezTo>
                    <a:pt x="693" y="1317"/>
                    <a:pt x="701" y="1320"/>
                    <a:pt x="700" y="1331"/>
                  </a:cubicBezTo>
                  <a:cubicBezTo>
                    <a:pt x="699" y="1335"/>
                    <a:pt x="695" y="1335"/>
                    <a:pt x="694" y="1339"/>
                  </a:cubicBezTo>
                  <a:cubicBezTo>
                    <a:pt x="696" y="1352"/>
                    <a:pt x="713" y="1360"/>
                    <a:pt x="712" y="1373"/>
                  </a:cubicBezTo>
                  <a:cubicBezTo>
                    <a:pt x="711" y="1378"/>
                    <a:pt x="705" y="1379"/>
                    <a:pt x="707" y="1385"/>
                  </a:cubicBezTo>
                  <a:cubicBezTo>
                    <a:pt x="697" y="1384"/>
                    <a:pt x="698" y="1394"/>
                    <a:pt x="689" y="1393"/>
                  </a:cubicBezTo>
                  <a:cubicBezTo>
                    <a:pt x="689" y="1403"/>
                    <a:pt x="684" y="1405"/>
                    <a:pt x="687" y="1415"/>
                  </a:cubicBezTo>
                  <a:cubicBezTo>
                    <a:pt x="680" y="1417"/>
                    <a:pt x="683" y="1423"/>
                    <a:pt x="677" y="1427"/>
                  </a:cubicBezTo>
                  <a:cubicBezTo>
                    <a:pt x="679" y="1436"/>
                    <a:pt x="676" y="1443"/>
                    <a:pt x="679" y="1451"/>
                  </a:cubicBezTo>
                  <a:cubicBezTo>
                    <a:pt x="683" y="1459"/>
                    <a:pt x="695" y="1464"/>
                    <a:pt x="704" y="1475"/>
                  </a:cubicBezTo>
                  <a:cubicBezTo>
                    <a:pt x="706" y="1477"/>
                    <a:pt x="706" y="1479"/>
                    <a:pt x="708" y="1481"/>
                  </a:cubicBezTo>
                  <a:cubicBezTo>
                    <a:pt x="712" y="1487"/>
                    <a:pt x="718" y="1489"/>
                    <a:pt x="721" y="1493"/>
                  </a:cubicBezTo>
                  <a:cubicBezTo>
                    <a:pt x="722" y="1494"/>
                    <a:pt x="721" y="1496"/>
                    <a:pt x="722" y="1497"/>
                  </a:cubicBezTo>
                  <a:cubicBezTo>
                    <a:pt x="726" y="1500"/>
                    <a:pt x="731" y="1499"/>
                    <a:pt x="733" y="1503"/>
                  </a:cubicBezTo>
                  <a:cubicBezTo>
                    <a:pt x="735" y="1508"/>
                    <a:pt x="733" y="1515"/>
                    <a:pt x="735" y="1521"/>
                  </a:cubicBezTo>
                  <a:cubicBezTo>
                    <a:pt x="736" y="1524"/>
                    <a:pt x="740" y="1527"/>
                    <a:pt x="741" y="1529"/>
                  </a:cubicBezTo>
                  <a:cubicBezTo>
                    <a:pt x="742" y="1530"/>
                    <a:pt x="740" y="1533"/>
                    <a:pt x="740" y="1534"/>
                  </a:cubicBezTo>
                  <a:cubicBezTo>
                    <a:pt x="741" y="1535"/>
                    <a:pt x="744" y="1541"/>
                    <a:pt x="744" y="1542"/>
                  </a:cubicBezTo>
                  <a:cubicBezTo>
                    <a:pt x="746" y="1545"/>
                    <a:pt x="751" y="1550"/>
                    <a:pt x="753" y="1552"/>
                  </a:cubicBezTo>
                  <a:cubicBezTo>
                    <a:pt x="762" y="1563"/>
                    <a:pt x="783" y="1564"/>
                    <a:pt x="783" y="1578"/>
                  </a:cubicBezTo>
                  <a:cubicBezTo>
                    <a:pt x="788" y="1583"/>
                    <a:pt x="799" y="1582"/>
                    <a:pt x="800" y="1592"/>
                  </a:cubicBezTo>
                  <a:cubicBezTo>
                    <a:pt x="800" y="1594"/>
                    <a:pt x="797" y="1594"/>
                    <a:pt x="794" y="1594"/>
                  </a:cubicBezTo>
                  <a:cubicBezTo>
                    <a:pt x="794" y="1599"/>
                    <a:pt x="800" y="1599"/>
                    <a:pt x="801" y="1604"/>
                  </a:cubicBezTo>
                  <a:cubicBezTo>
                    <a:pt x="808" y="1602"/>
                    <a:pt x="813" y="1607"/>
                    <a:pt x="820" y="1608"/>
                  </a:cubicBezTo>
                  <a:cubicBezTo>
                    <a:pt x="833" y="1609"/>
                    <a:pt x="848" y="1604"/>
                    <a:pt x="860" y="1603"/>
                  </a:cubicBezTo>
                  <a:cubicBezTo>
                    <a:pt x="881" y="1601"/>
                    <a:pt x="902" y="1604"/>
                    <a:pt x="921" y="1600"/>
                  </a:cubicBezTo>
                  <a:cubicBezTo>
                    <a:pt x="940" y="1597"/>
                    <a:pt x="954" y="1584"/>
                    <a:pt x="970" y="1580"/>
                  </a:cubicBezTo>
                  <a:cubicBezTo>
                    <a:pt x="984" y="1576"/>
                    <a:pt x="990" y="1567"/>
                    <a:pt x="1000" y="1562"/>
                  </a:cubicBezTo>
                  <a:cubicBezTo>
                    <a:pt x="1004" y="1559"/>
                    <a:pt x="1011" y="1559"/>
                    <a:pt x="1016" y="1556"/>
                  </a:cubicBezTo>
                  <a:cubicBezTo>
                    <a:pt x="1024" y="1552"/>
                    <a:pt x="1029" y="1542"/>
                    <a:pt x="1033" y="1535"/>
                  </a:cubicBezTo>
                  <a:cubicBezTo>
                    <a:pt x="1034" y="1532"/>
                    <a:pt x="1029" y="1534"/>
                    <a:pt x="1030" y="1530"/>
                  </a:cubicBezTo>
                  <a:cubicBezTo>
                    <a:pt x="1046" y="1521"/>
                    <a:pt x="1066" y="1516"/>
                    <a:pt x="1082" y="1507"/>
                  </a:cubicBezTo>
                  <a:cubicBezTo>
                    <a:pt x="1083" y="1504"/>
                    <a:pt x="1080" y="1504"/>
                    <a:pt x="1080" y="1501"/>
                  </a:cubicBezTo>
                  <a:cubicBezTo>
                    <a:pt x="1086" y="1499"/>
                    <a:pt x="1087" y="1493"/>
                    <a:pt x="1089" y="1487"/>
                  </a:cubicBezTo>
                  <a:cubicBezTo>
                    <a:pt x="1085" y="1486"/>
                    <a:pt x="1085" y="1482"/>
                    <a:pt x="1082" y="1479"/>
                  </a:cubicBezTo>
                  <a:cubicBezTo>
                    <a:pt x="1084" y="1478"/>
                    <a:pt x="1085" y="1476"/>
                    <a:pt x="1085" y="1474"/>
                  </a:cubicBezTo>
                  <a:cubicBezTo>
                    <a:pt x="1084" y="1472"/>
                    <a:pt x="1081" y="1472"/>
                    <a:pt x="1079" y="1471"/>
                  </a:cubicBezTo>
                  <a:cubicBezTo>
                    <a:pt x="1081" y="1463"/>
                    <a:pt x="1089" y="1464"/>
                    <a:pt x="1095" y="1460"/>
                  </a:cubicBezTo>
                  <a:cubicBezTo>
                    <a:pt x="1098" y="1458"/>
                    <a:pt x="1100" y="1454"/>
                    <a:pt x="1103" y="1451"/>
                  </a:cubicBezTo>
                  <a:cubicBezTo>
                    <a:pt x="1108" y="1449"/>
                    <a:pt x="1114" y="1448"/>
                    <a:pt x="1119" y="1445"/>
                  </a:cubicBezTo>
                  <a:cubicBezTo>
                    <a:pt x="1122" y="1442"/>
                    <a:pt x="1124" y="1437"/>
                    <a:pt x="1127" y="1434"/>
                  </a:cubicBezTo>
                  <a:cubicBezTo>
                    <a:pt x="1142" y="1423"/>
                    <a:pt x="1160" y="1422"/>
                    <a:pt x="1174" y="1412"/>
                  </a:cubicBezTo>
                  <a:cubicBezTo>
                    <a:pt x="1179" y="1409"/>
                    <a:pt x="1188" y="1400"/>
                    <a:pt x="1193" y="1395"/>
                  </a:cubicBezTo>
                  <a:cubicBezTo>
                    <a:pt x="1200" y="1387"/>
                    <a:pt x="1197" y="1383"/>
                    <a:pt x="1197" y="1373"/>
                  </a:cubicBezTo>
                  <a:cubicBezTo>
                    <a:pt x="1197" y="1369"/>
                    <a:pt x="1198" y="1363"/>
                    <a:pt x="1199" y="1360"/>
                  </a:cubicBezTo>
                  <a:cubicBezTo>
                    <a:pt x="1202" y="1350"/>
                    <a:pt x="1203" y="1342"/>
                    <a:pt x="1208" y="1331"/>
                  </a:cubicBezTo>
                  <a:cubicBezTo>
                    <a:pt x="1207" y="1325"/>
                    <a:pt x="1197" y="1327"/>
                    <a:pt x="1194" y="1323"/>
                  </a:cubicBezTo>
                  <a:cubicBezTo>
                    <a:pt x="1197" y="1312"/>
                    <a:pt x="1186" y="1305"/>
                    <a:pt x="1194" y="1299"/>
                  </a:cubicBezTo>
                  <a:cubicBezTo>
                    <a:pt x="1188" y="1292"/>
                    <a:pt x="1199" y="1289"/>
                    <a:pt x="1197" y="1281"/>
                  </a:cubicBezTo>
                  <a:cubicBezTo>
                    <a:pt x="1194" y="1279"/>
                    <a:pt x="1187" y="1280"/>
                    <a:pt x="1186" y="1276"/>
                  </a:cubicBezTo>
                  <a:cubicBezTo>
                    <a:pt x="1190" y="1267"/>
                    <a:pt x="1190" y="1259"/>
                    <a:pt x="1194" y="1251"/>
                  </a:cubicBezTo>
                  <a:cubicBezTo>
                    <a:pt x="1198" y="1245"/>
                    <a:pt x="1210" y="1240"/>
                    <a:pt x="1208" y="1230"/>
                  </a:cubicBezTo>
                  <a:cubicBezTo>
                    <a:pt x="1210" y="1227"/>
                    <a:pt x="1213" y="1224"/>
                    <a:pt x="1216" y="1222"/>
                  </a:cubicBezTo>
                  <a:cubicBezTo>
                    <a:pt x="1216" y="1219"/>
                    <a:pt x="1215" y="1219"/>
                    <a:pt x="1215" y="1216"/>
                  </a:cubicBezTo>
                  <a:cubicBezTo>
                    <a:pt x="1221" y="1213"/>
                    <a:pt x="1226" y="1209"/>
                    <a:pt x="1228" y="1202"/>
                  </a:cubicBezTo>
                  <a:cubicBezTo>
                    <a:pt x="1231" y="1202"/>
                    <a:pt x="1232" y="1200"/>
                    <a:pt x="1236" y="1200"/>
                  </a:cubicBezTo>
                  <a:cubicBezTo>
                    <a:pt x="1244" y="1193"/>
                    <a:pt x="1246" y="1183"/>
                    <a:pt x="1253" y="1175"/>
                  </a:cubicBezTo>
                  <a:cubicBezTo>
                    <a:pt x="1257" y="1170"/>
                    <a:pt x="1264" y="1167"/>
                    <a:pt x="1267" y="1163"/>
                  </a:cubicBezTo>
                  <a:cubicBezTo>
                    <a:pt x="1269" y="1160"/>
                    <a:pt x="1269" y="1157"/>
                    <a:pt x="1271" y="1154"/>
                  </a:cubicBezTo>
                  <a:cubicBezTo>
                    <a:pt x="1273" y="1152"/>
                    <a:pt x="1276" y="1151"/>
                    <a:pt x="1278" y="1149"/>
                  </a:cubicBezTo>
                  <a:cubicBezTo>
                    <a:pt x="1304" y="1121"/>
                    <a:pt x="1338" y="1099"/>
                    <a:pt x="1353" y="1061"/>
                  </a:cubicBezTo>
                  <a:cubicBezTo>
                    <a:pt x="1355" y="1054"/>
                    <a:pt x="1362" y="1049"/>
                    <a:pt x="1365" y="1042"/>
                  </a:cubicBezTo>
                  <a:cubicBezTo>
                    <a:pt x="1368" y="1037"/>
                    <a:pt x="1367" y="1031"/>
                    <a:pt x="1368" y="1025"/>
                  </a:cubicBezTo>
                  <a:cubicBezTo>
                    <a:pt x="1369" y="1021"/>
                    <a:pt x="1376" y="1015"/>
                    <a:pt x="1378" y="1007"/>
                  </a:cubicBezTo>
                  <a:cubicBezTo>
                    <a:pt x="1381" y="995"/>
                    <a:pt x="1382" y="986"/>
                    <a:pt x="1388" y="981"/>
                  </a:cubicBezTo>
                  <a:cubicBezTo>
                    <a:pt x="1388" y="974"/>
                    <a:pt x="1389" y="967"/>
                    <a:pt x="1387" y="961"/>
                  </a:cubicBezTo>
                  <a:cubicBezTo>
                    <a:pt x="1388" y="958"/>
                    <a:pt x="1391" y="958"/>
                    <a:pt x="1391" y="954"/>
                  </a:cubicBezTo>
                  <a:cubicBezTo>
                    <a:pt x="1390" y="946"/>
                    <a:pt x="1389" y="937"/>
                    <a:pt x="1392" y="931"/>
                  </a:cubicBezTo>
                  <a:cubicBezTo>
                    <a:pt x="1391" y="931"/>
                    <a:pt x="1390" y="930"/>
                    <a:pt x="1389" y="928"/>
                  </a:cubicBezTo>
                  <a:cubicBezTo>
                    <a:pt x="1386" y="928"/>
                    <a:pt x="1385" y="929"/>
                    <a:pt x="1382" y="929"/>
                  </a:cubicBezTo>
                  <a:cubicBezTo>
                    <a:pt x="1378" y="948"/>
                    <a:pt x="1351" y="944"/>
                    <a:pt x="1341" y="956"/>
                  </a:cubicBezTo>
                  <a:cubicBezTo>
                    <a:pt x="1338" y="957"/>
                    <a:pt x="1339" y="954"/>
                    <a:pt x="1336" y="954"/>
                  </a:cubicBezTo>
                  <a:cubicBezTo>
                    <a:pt x="1329" y="958"/>
                    <a:pt x="1326" y="965"/>
                    <a:pt x="1319" y="969"/>
                  </a:cubicBezTo>
                  <a:cubicBezTo>
                    <a:pt x="1316" y="968"/>
                    <a:pt x="1315" y="966"/>
                    <a:pt x="1311" y="967"/>
                  </a:cubicBezTo>
                  <a:cubicBezTo>
                    <a:pt x="1301" y="972"/>
                    <a:pt x="1295" y="982"/>
                    <a:pt x="1282" y="979"/>
                  </a:cubicBezTo>
                  <a:cubicBezTo>
                    <a:pt x="1273" y="977"/>
                    <a:pt x="1270" y="964"/>
                    <a:pt x="1261" y="963"/>
                  </a:cubicBezTo>
                  <a:cubicBezTo>
                    <a:pt x="1271" y="953"/>
                    <a:pt x="1263" y="938"/>
                    <a:pt x="1248" y="938"/>
                  </a:cubicBezTo>
                  <a:cubicBezTo>
                    <a:pt x="1248" y="935"/>
                    <a:pt x="1247" y="932"/>
                    <a:pt x="1245" y="929"/>
                  </a:cubicBezTo>
                  <a:cubicBezTo>
                    <a:pt x="1239" y="930"/>
                    <a:pt x="1236" y="927"/>
                    <a:pt x="1232" y="925"/>
                  </a:cubicBezTo>
                  <a:cubicBezTo>
                    <a:pt x="1230" y="922"/>
                    <a:pt x="1230" y="916"/>
                    <a:pt x="1227" y="914"/>
                  </a:cubicBezTo>
                  <a:cubicBezTo>
                    <a:pt x="1224" y="912"/>
                    <a:pt x="1222" y="913"/>
                    <a:pt x="1218" y="914"/>
                  </a:cubicBezTo>
                  <a:cubicBezTo>
                    <a:pt x="1216" y="913"/>
                    <a:pt x="1214" y="910"/>
                    <a:pt x="1211" y="909"/>
                  </a:cubicBezTo>
                  <a:cubicBezTo>
                    <a:pt x="1200" y="909"/>
                    <a:pt x="1191" y="903"/>
                    <a:pt x="1188" y="894"/>
                  </a:cubicBezTo>
                  <a:cubicBezTo>
                    <a:pt x="1186" y="888"/>
                    <a:pt x="1188" y="882"/>
                    <a:pt x="1186" y="877"/>
                  </a:cubicBezTo>
                  <a:cubicBezTo>
                    <a:pt x="1181" y="865"/>
                    <a:pt x="1173" y="858"/>
                    <a:pt x="1162" y="853"/>
                  </a:cubicBezTo>
                  <a:cubicBezTo>
                    <a:pt x="1161" y="852"/>
                    <a:pt x="1162" y="848"/>
                    <a:pt x="1159" y="849"/>
                  </a:cubicBezTo>
                  <a:cubicBezTo>
                    <a:pt x="1156" y="846"/>
                    <a:pt x="1152" y="850"/>
                    <a:pt x="1149" y="848"/>
                  </a:cubicBezTo>
                  <a:cubicBezTo>
                    <a:pt x="1149" y="833"/>
                    <a:pt x="1138" y="819"/>
                    <a:pt x="1142" y="805"/>
                  </a:cubicBezTo>
                  <a:cubicBezTo>
                    <a:pt x="1140" y="802"/>
                    <a:pt x="1136" y="801"/>
                    <a:pt x="1135" y="797"/>
                  </a:cubicBezTo>
                  <a:cubicBezTo>
                    <a:pt x="1135" y="784"/>
                    <a:pt x="1124" y="781"/>
                    <a:pt x="1114" y="778"/>
                  </a:cubicBezTo>
                  <a:cubicBezTo>
                    <a:pt x="1108" y="772"/>
                    <a:pt x="1104" y="760"/>
                    <a:pt x="1106" y="753"/>
                  </a:cubicBezTo>
                  <a:cubicBezTo>
                    <a:pt x="1094" y="749"/>
                    <a:pt x="1092" y="733"/>
                    <a:pt x="1084" y="723"/>
                  </a:cubicBezTo>
                  <a:cubicBezTo>
                    <a:pt x="1080" y="718"/>
                    <a:pt x="1074" y="715"/>
                    <a:pt x="1072" y="709"/>
                  </a:cubicBezTo>
                  <a:cubicBezTo>
                    <a:pt x="1070" y="706"/>
                    <a:pt x="1071" y="703"/>
                    <a:pt x="1070" y="700"/>
                  </a:cubicBezTo>
                  <a:cubicBezTo>
                    <a:pt x="1067" y="695"/>
                    <a:pt x="1059" y="696"/>
                    <a:pt x="1060" y="689"/>
                  </a:cubicBezTo>
                  <a:cubicBezTo>
                    <a:pt x="1064" y="692"/>
                    <a:pt x="1066" y="696"/>
                    <a:pt x="1074" y="695"/>
                  </a:cubicBezTo>
                  <a:cubicBezTo>
                    <a:pt x="1075" y="687"/>
                    <a:pt x="1067" y="675"/>
                    <a:pt x="1074" y="670"/>
                  </a:cubicBezTo>
                  <a:cubicBezTo>
                    <a:pt x="1074" y="687"/>
                    <a:pt x="1082" y="694"/>
                    <a:pt x="1096" y="697"/>
                  </a:cubicBezTo>
                  <a:cubicBezTo>
                    <a:pt x="1099" y="702"/>
                    <a:pt x="1101" y="710"/>
                    <a:pt x="1106" y="715"/>
                  </a:cubicBezTo>
                  <a:cubicBezTo>
                    <a:pt x="1111" y="721"/>
                    <a:pt x="1117" y="722"/>
                    <a:pt x="1122" y="726"/>
                  </a:cubicBezTo>
                  <a:cubicBezTo>
                    <a:pt x="1127" y="731"/>
                    <a:pt x="1127" y="739"/>
                    <a:pt x="1131" y="746"/>
                  </a:cubicBezTo>
                  <a:cubicBezTo>
                    <a:pt x="1136" y="754"/>
                    <a:pt x="1143" y="749"/>
                    <a:pt x="1150" y="751"/>
                  </a:cubicBezTo>
                  <a:cubicBezTo>
                    <a:pt x="1174" y="756"/>
                    <a:pt x="1166" y="802"/>
                    <a:pt x="1188" y="811"/>
                  </a:cubicBezTo>
                  <a:cubicBezTo>
                    <a:pt x="1191" y="811"/>
                    <a:pt x="1193" y="810"/>
                    <a:pt x="1197" y="810"/>
                  </a:cubicBezTo>
                  <a:cubicBezTo>
                    <a:pt x="1201" y="812"/>
                    <a:pt x="1206" y="818"/>
                    <a:pt x="1210" y="823"/>
                  </a:cubicBezTo>
                  <a:cubicBezTo>
                    <a:pt x="1215" y="829"/>
                    <a:pt x="1221" y="838"/>
                    <a:pt x="1228" y="847"/>
                  </a:cubicBezTo>
                  <a:cubicBezTo>
                    <a:pt x="1240" y="860"/>
                    <a:pt x="1255" y="866"/>
                    <a:pt x="1246" y="889"/>
                  </a:cubicBezTo>
                  <a:cubicBezTo>
                    <a:pt x="1256" y="893"/>
                    <a:pt x="1257" y="910"/>
                    <a:pt x="1254" y="923"/>
                  </a:cubicBezTo>
                  <a:cubicBezTo>
                    <a:pt x="1259" y="927"/>
                    <a:pt x="1264" y="932"/>
                    <a:pt x="1267" y="938"/>
                  </a:cubicBezTo>
                  <a:cubicBezTo>
                    <a:pt x="1274" y="939"/>
                    <a:pt x="1283" y="939"/>
                    <a:pt x="1289" y="935"/>
                  </a:cubicBezTo>
                  <a:cubicBezTo>
                    <a:pt x="1293" y="931"/>
                    <a:pt x="1293" y="921"/>
                    <a:pt x="1299" y="921"/>
                  </a:cubicBezTo>
                  <a:cubicBezTo>
                    <a:pt x="1311" y="920"/>
                    <a:pt x="1318" y="917"/>
                    <a:pt x="1325" y="914"/>
                  </a:cubicBezTo>
                  <a:cubicBezTo>
                    <a:pt x="1329" y="912"/>
                    <a:pt x="1333" y="912"/>
                    <a:pt x="1336" y="911"/>
                  </a:cubicBezTo>
                  <a:cubicBezTo>
                    <a:pt x="1340" y="908"/>
                    <a:pt x="1343" y="900"/>
                    <a:pt x="1348" y="895"/>
                  </a:cubicBezTo>
                  <a:cubicBezTo>
                    <a:pt x="1356" y="887"/>
                    <a:pt x="1362" y="882"/>
                    <a:pt x="1370" y="875"/>
                  </a:cubicBezTo>
                  <a:cubicBezTo>
                    <a:pt x="1377" y="868"/>
                    <a:pt x="1382" y="864"/>
                    <a:pt x="1393" y="863"/>
                  </a:cubicBezTo>
                  <a:cubicBezTo>
                    <a:pt x="1396" y="838"/>
                    <a:pt x="1419" y="832"/>
                    <a:pt x="1434" y="818"/>
                  </a:cubicBezTo>
                  <a:cubicBezTo>
                    <a:pt x="1434" y="814"/>
                    <a:pt x="1433" y="812"/>
                    <a:pt x="1433" y="808"/>
                  </a:cubicBezTo>
                  <a:cubicBezTo>
                    <a:pt x="1439" y="803"/>
                    <a:pt x="1449" y="801"/>
                    <a:pt x="1447" y="788"/>
                  </a:cubicBezTo>
                  <a:cubicBezTo>
                    <a:pt x="1455" y="782"/>
                    <a:pt x="1457" y="771"/>
                    <a:pt x="1455" y="757"/>
                  </a:cubicBezTo>
                  <a:cubicBezTo>
                    <a:pt x="1459" y="758"/>
                    <a:pt x="1461" y="756"/>
                    <a:pt x="1463" y="755"/>
                  </a:cubicBezTo>
                  <a:cubicBezTo>
                    <a:pt x="1460" y="738"/>
                    <a:pt x="1475" y="729"/>
                    <a:pt x="1466" y="712"/>
                  </a:cubicBezTo>
                  <a:cubicBezTo>
                    <a:pt x="1457" y="713"/>
                    <a:pt x="1454" y="700"/>
                    <a:pt x="1447" y="697"/>
                  </a:cubicBezTo>
                  <a:cubicBezTo>
                    <a:pt x="1437" y="692"/>
                    <a:pt x="1426" y="699"/>
                    <a:pt x="1417" y="693"/>
                  </a:cubicBezTo>
                  <a:cubicBezTo>
                    <a:pt x="1406" y="686"/>
                    <a:pt x="1409" y="668"/>
                    <a:pt x="1401" y="658"/>
                  </a:cubicBezTo>
                  <a:cubicBezTo>
                    <a:pt x="1400" y="677"/>
                    <a:pt x="1385" y="685"/>
                    <a:pt x="1387" y="706"/>
                  </a:cubicBezTo>
                  <a:cubicBezTo>
                    <a:pt x="1381" y="709"/>
                    <a:pt x="1377" y="706"/>
                    <a:pt x="1370" y="707"/>
                  </a:cubicBezTo>
                  <a:cubicBezTo>
                    <a:pt x="1365" y="709"/>
                    <a:pt x="1362" y="716"/>
                    <a:pt x="1358" y="715"/>
                  </a:cubicBezTo>
                  <a:cubicBezTo>
                    <a:pt x="1340" y="714"/>
                    <a:pt x="1363" y="674"/>
                    <a:pt x="1338" y="679"/>
                  </a:cubicBezTo>
                  <a:cubicBezTo>
                    <a:pt x="1335" y="685"/>
                    <a:pt x="1344" y="697"/>
                    <a:pt x="1338" y="703"/>
                  </a:cubicBezTo>
                  <a:cubicBezTo>
                    <a:pt x="1334" y="690"/>
                    <a:pt x="1318" y="689"/>
                    <a:pt x="1317" y="673"/>
                  </a:cubicBezTo>
                  <a:cubicBezTo>
                    <a:pt x="1310" y="669"/>
                    <a:pt x="1298" y="668"/>
                    <a:pt x="1298" y="657"/>
                  </a:cubicBezTo>
                  <a:cubicBezTo>
                    <a:pt x="1293" y="654"/>
                    <a:pt x="1290" y="651"/>
                    <a:pt x="1289" y="645"/>
                  </a:cubicBezTo>
                  <a:cubicBezTo>
                    <a:pt x="1284" y="643"/>
                    <a:pt x="1278" y="641"/>
                    <a:pt x="1277" y="635"/>
                  </a:cubicBezTo>
                  <a:cubicBezTo>
                    <a:pt x="1278" y="634"/>
                    <a:pt x="1283" y="635"/>
                    <a:pt x="1285" y="634"/>
                  </a:cubicBezTo>
                  <a:cubicBezTo>
                    <a:pt x="1285" y="627"/>
                    <a:pt x="1285" y="627"/>
                    <a:pt x="1285" y="627"/>
                  </a:cubicBezTo>
                  <a:cubicBezTo>
                    <a:pt x="1290" y="627"/>
                    <a:pt x="1290" y="627"/>
                    <a:pt x="1290" y="627"/>
                  </a:cubicBezTo>
                  <a:cubicBezTo>
                    <a:pt x="1288" y="610"/>
                    <a:pt x="1299" y="620"/>
                    <a:pt x="1306" y="626"/>
                  </a:cubicBezTo>
                  <a:cubicBezTo>
                    <a:pt x="1316" y="635"/>
                    <a:pt x="1327" y="651"/>
                    <a:pt x="1336" y="657"/>
                  </a:cubicBezTo>
                  <a:cubicBezTo>
                    <a:pt x="1352" y="644"/>
                    <a:pt x="1362" y="667"/>
                    <a:pt x="1380" y="666"/>
                  </a:cubicBezTo>
                  <a:cubicBezTo>
                    <a:pt x="1388" y="661"/>
                    <a:pt x="1393" y="652"/>
                    <a:pt x="1401" y="647"/>
                  </a:cubicBezTo>
                  <a:cubicBezTo>
                    <a:pt x="1408" y="652"/>
                    <a:pt x="1412" y="659"/>
                    <a:pt x="1416" y="666"/>
                  </a:cubicBezTo>
                  <a:cubicBezTo>
                    <a:pt x="1429" y="670"/>
                    <a:pt x="1436" y="663"/>
                    <a:pt x="1448" y="668"/>
                  </a:cubicBezTo>
                  <a:cubicBezTo>
                    <a:pt x="1451" y="668"/>
                    <a:pt x="1450" y="664"/>
                    <a:pt x="1455" y="665"/>
                  </a:cubicBezTo>
                  <a:cubicBezTo>
                    <a:pt x="1464" y="670"/>
                    <a:pt x="1468" y="663"/>
                    <a:pt x="1474" y="659"/>
                  </a:cubicBezTo>
                  <a:cubicBezTo>
                    <a:pt x="1479" y="657"/>
                    <a:pt x="1486" y="658"/>
                    <a:pt x="1486" y="652"/>
                  </a:cubicBezTo>
                  <a:cubicBezTo>
                    <a:pt x="1495" y="653"/>
                    <a:pt x="1501" y="644"/>
                    <a:pt x="1508" y="640"/>
                  </a:cubicBezTo>
                  <a:cubicBezTo>
                    <a:pt x="1514" y="642"/>
                    <a:pt x="1516" y="648"/>
                    <a:pt x="1519" y="653"/>
                  </a:cubicBezTo>
                  <a:cubicBezTo>
                    <a:pt x="1523" y="653"/>
                    <a:pt x="1526" y="651"/>
                    <a:pt x="1531" y="652"/>
                  </a:cubicBezTo>
                  <a:cubicBezTo>
                    <a:pt x="1532" y="655"/>
                    <a:pt x="1535" y="657"/>
                    <a:pt x="1536" y="659"/>
                  </a:cubicBezTo>
                  <a:cubicBezTo>
                    <a:pt x="1539" y="659"/>
                    <a:pt x="1541" y="658"/>
                    <a:pt x="1544" y="659"/>
                  </a:cubicBezTo>
                  <a:cubicBezTo>
                    <a:pt x="1545" y="662"/>
                    <a:pt x="1546" y="664"/>
                    <a:pt x="1547" y="667"/>
                  </a:cubicBezTo>
                  <a:cubicBezTo>
                    <a:pt x="1555" y="671"/>
                    <a:pt x="1559" y="664"/>
                    <a:pt x="1562" y="659"/>
                  </a:cubicBezTo>
                  <a:cubicBezTo>
                    <a:pt x="1566" y="671"/>
                    <a:pt x="1552" y="672"/>
                    <a:pt x="1553" y="682"/>
                  </a:cubicBezTo>
                  <a:cubicBezTo>
                    <a:pt x="1553" y="687"/>
                    <a:pt x="1566" y="695"/>
                    <a:pt x="1571" y="697"/>
                  </a:cubicBezTo>
                  <a:cubicBezTo>
                    <a:pt x="1592" y="705"/>
                    <a:pt x="1580" y="671"/>
                    <a:pt x="1586" y="661"/>
                  </a:cubicBezTo>
                  <a:cubicBezTo>
                    <a:pt x="1587" y="667"/>
                    <a:pt x="1585" y="672"/>
                    <a:pt x="1585" y="677"/>
                  </a:cubicBezTo>
                  <a:cubicBezTo>
                    <a:pt x="1587" y="680"/>
                    <a:pt x="1590" y="681"/>
                    <a:pt x="1592" y="683"/>
                  </a:cubicBezTo>
                  <a:cubicBezTo>
                    <a:pt x="1595" y="712"/>
                    <a:pt x="1602" y="735"/>
                    <a:pt x="1614" y="755"/>
                  </a:cubicBezTo>
                  <a:cubicBezTo>
                    <a:pt x="1614" y="758"/>
                    <a:pt x="1614" y="760"/>
                    <a:pt x="1615" y="762"/>
                  </a:cubicBezTo>
                  <a:cubicBezTo>
                    <a:pt x="1616" y="764"/>
                    <a:pt x="1619" y="763"/>
                    <a:pt x="1621" y="765"/>
                  </a:cubicBezTo>
                  <a:cubicBezTo>
                    <a:pt x="1621" y="772"/>
                    <a:pt x="1625" y="776"/>
                    <a:pt x="1629" y="779"/>
                  </a:cubicBezTo>
                  <a:cubicBezTo>
                    <a:pt x="1628" y="802"/>
                    <a:pt x="1645" y="814"/>
                    <a:pt x="1647" y="830"/>
                  </a:cubicBezTo>
                  <a:cubicBezTo>
                    <a:pt x="1648" y="844"/>
                    <a:pt x="1651" y="853"/>
                    <a:pt x="1658" y="862"/>
                  </a:cubicBezTo>
                  <a:cubicBezTo>
                    <a:pt x="1663" y="856"/>
                    <a:pt x="1660" y="849"/>
                    <a:pt x="1661" y="842"/>
                  </a:cubicBezTo>
                  <a:cubicBezTo>
                    <a:pt x="1662" y="838"/>
                    <a:pt x="1665" y="835"/>
                    <a:pt x="1666" y="831"/>
                  </a:cubicBezTo>
                  <a:cubicBezTo>
                    <a:pt x="1666" y="830"/>
                    <a:pt x="1665" y="827"/>
                    <a:pt x="1665" y="825"/>
                  </a:cubicBezTo>
                  <a:cubicBezTo>
                    <a:pt x="1665" y="820"/>
                    <a:pt x="1669" y="814"/>
                    <a:pt x="1669" y="810"/>
                  </a:cubicBezTo>
                  <a:cubicBezTo>
                    <a:pt x="1669" y="804"/>
                    <a:pt x="1665" y="794"/>
                    <a:pt x="1664" y="783"/>
                  </a:cubicBezTo>
                  <a:close/>
                  <a:moveTo>
                    <a:pt x="911" y="465"/>
                  </a:moveTo>
                  <a:cubicBezTo>
                    <a:pt x="918" y="465"/>
                    <a:pt x="918" y="465"/>
                    <a:pt x="918" y="465"/>
                  </a:cubicBezTo>
                  <a:cubicBezTo>
                    <a:pt x="918" y="468"/>
                    <a:pt x="910" y="471"/>
                    <a:pt x="911" y="465"/>
                  </a:cubicBezTo>
                  <a:close/>
                  <a:moveTo>
                    <a:pt x="923" y="465"/>
                  </a:moveTo>
                  <a:cubicBezTo>
                    <a:pt x="924" y="455"/>
                    <a:pt x="940" y="454"/>
                    <a:pt x="947" y="459"/>
                  </a:cubicBezTo>
                  <a:cubicBezTo>
                    <a:pt x="947" y="468"/>
                    <a:pt x="931" y="466"/>
                    <a:pt x="923" y="465"/>
                  </a:cubicBezTo>
                  <a:close/>
                  <a:moveTo>
                    <a:pt x="1059" y="449"/>
                  </a:moveTo>
                  <a:cubicBezTo>
                    <a:pt x="1056" y="449"/>
                    <a:pt x="1055" y="446"/>
                    <a:pt x="1052" y="444"/>
                  </a:cubicBezTo>
                  <a:cubicBezTo>
                    <a:pt x="1049" y="444"/>
                    <a:pt x="1048" y="446"/>
                    <a:pt x="1045" y="445"/>
                  </a:cubicBezTo>
                  <a:cubicBezTo>
                    <a:pt x="1041" y="445"/>
                    <a:pt x="1041" y="441"/>
                    <a:pt x="1038" y="440"/>
                  </a:cubicBezTo>
                  <a:cubicBezTo>
                    <a:pt x="1035" y="439"/>
                    <a:pt x="1033" y="441"/>
                    <a:pt x="1030" y="442"/>
                  </a:cubicBezTo>
                  <a:cubicBezTo>
                    <a:pt x="1026" y="440"/>
                    <a:pt x="1024" y="437"/>
                    <a:pt x="1021" y="435"/>
                  </a:cubicBezTo>
                  <a:cubicBezTo>
                    <a:pt x="1015" y="442"/>
                    <a:pt x="1008" y="436"/>
                    <a:pt x="1001" y="437"/>
                  </a:cubicBezTo>
                  <a:cubicBezTo>
                    <a:pt x="990" y="438"/>
                    <a:pt x="981" y="446"/>
                    <a:pt x="976" y="453"/>
                  </a:cubicBezTo>
                  <a:cubicBezTo>
                    <a:pt x="959" y="454"/>
                    <a:pt x="951" y="450"/>
                    <a:pt x="934" y="450"/>
                  </a:cubicBezTo>
                  <a:cubicBezTo>
                    <a:pt x="931" y="445"/>
                    <a:pt x="929" y="437"/>
                    <a:pt x="924" y="433"/>
                  </a:cubicBezTo>
                  <a:cubicBezTo>
                    <a:pt x="925" y="429"/>
                    <a:pt x="927" y="425"/>
                    <a:pt x="925" y="420"/>
                  </a:cubicBezTo>
                  <a:cubicBezTo>
                    <a:pt x="927" y="419"/>
                    <a:pt x="929" y="418"/>
                    <a:pt x="932" y="419"/>
                  </a:cubicBezTo>
                  <a:cubicBezTo>
                    <a:pt x="930" y="406"/>
                    <a:pt x="932" y="395"/>
                    <a:pt x="944" y="395"/>
                  </a:cubicBezTo>
                  <a:cubicBezTo>
                    <a:pt x="945" y="389"/>
                    <a:pt x="942" y="388"/>
                    <a:pt x="942" y="383"/>
                  </a:cubicBezTo>
                  <a:cubicBezTo>
                    <a:pt x="950" y="377"/>
                    <a:pt x="951" y="363"/>
                    <a:pt x="968" y="365"/>
                  </a:cubicBezTo>
                  <a:cubicBezTo>
                    <a:pt x="971" y="368"/>
                    <a:pt x="966" y="366"/>
                    <a:pt x="966" y="370"/>
                  </a:cubicBezTo>
                  <a:cubicBezTo>
                    <a:pt x="971" y="376"/>
                    <a:pt x="981" y="370"/>
                    <a:pt x="987" y="374"/>
                  </a:cubicBezTo>
                  <a:cubicBezTo>
                    <a:pt x="985" y="379"/>
                    <a:pt x="979" y="379"/>
                    <a:pt x="978" y="384"/>
                  </a:cubicBezTo>
                  <a:cubicBezTo>
                    <a:pt x="982" y="386"/>
                    <a:pt x="988" y="386"/>
                    <a:pt x="991" y="389"/>
                  </a:cubicBezTo>
                  <a:cubicBezTo>
                    <a:pt x="991" y="392"/>
                    <a:pt x="990" y="396"/>
                    <a:pt x="992" y="397"/>
                  </a:cubicBezTo>
                  <a:cubicBezTo>
                    <a:pt x="993" y="399"/>
                    <a:pt x="996" y="398"/>
                    <a:pt x="998" y="399"/>
                  </a:cubicBezTo>
                  <a:cubicBezTo>
                    <a:pt x="1001" y="393"/>
                    <a:pt x="1013" y="396"/>
                    <a:pt x="1014" y="387"/>
                  </a:cubicBezTo>
                  <a:cubicBezTo>
                    <a:pt x="1016" y="388"/>
                    <a:pt x="1019" y="389"/>
                    <a:pt x="1023" y="389"/>
                  </a:cubicBezTo>
                  <a:cubicBezTo>
                    <a:pt x="1025" y="388"/>
                    <a:pt x="1025" y="384"/>
                    <a:pt x="1027" y="382"/>
                  </a:cubicBezTo>
                  <a:cubicBezTo>
                    <a:pt x="1017" y="381"/>
                    <a:pt x="1005" y="384"/>
                    <a:pt x="999" y="373"/>
                  </a:cubicBezTo>
                  <a:cubicBezTo>
                    <a:pt x="1005" y="364"/>
                    <a:pt x="1021" y="365"/>
                    <a:pt x="1027" y="356"/>
                  </a:cubicBezTo>
                  <a:cubicBezTo>
                    <a:pt x="1035" y="358"/>
                    <a:pt x="1039" y="350"/>
                    <a:pt x="1047" y="353"/>
                  </a:cubicBezTo>
                  <a:cubicBezTo>
                    <a:pt x="1045" y="358"/>
                    <a:pt x="1040" y="360"/>
                    <a:pt x="1035" y="362"/>
                  </a:cubicBezTo>
                  <a:cubicBezTo>
                    <a:pt x="1036" y="366"/>
                    <a:pt x="1039" y="366"/>
                    <a:pt x="1042" y="368"/>
                  </a:cubicBezTo>
                  <a:cubicBezTo>
                    <a:pt x="1038" y="370"/>
                    <a:pt x="1040" y="378"/>
                    <a:pt x="1037" y="382"/>
                  </a:cubicBezTo>
                  <a:cubicBezTo>
                    <a:pt x="1033" y="383"/>
                    <a:pt x="1033" y="379"/>
                    <a:pt x="1029" y="380"/>
                  </a:cubicBezTo>
                  <a:cubicBezTo>
                    <a:pt x="1029" y="388"/>
                    <a:pt x="1037" y="388"/>
                    <a:pt x="1040" y="393"/>
                  </a:cubicBezTo>
                  <a:cubicBezTo>
                    <a:pt x="1049" y="391"/>
                    <a:pt x="1049" y="398"/>
                    <a:pt x="1058" y="396"/>
                  </a:cubicBezTo>
                  <a:cubicBezTo>
                    <a:pt x="1067" y="408"/>
                    <a:pt x="1087" y="411"/>
                    <a:pt x="1099" y="418"/>
                  </a:cubicBezTo>
                  <a:cubicBezTo>
                    <a:pt x="1105" y="421"/>
                    <a:pt x="1106" y="431"/>
                    <a:pt x="1112" y="436"/>
                  </a:cubicBezTo>
                  <a:cubicBezTo>
                    <a:pt x="1106" y="454"/>
                    <a:pt x="1075" y="450"/>
                    <a:pt x="1059" y="449"/>
                  </a:cubicBezTo>
                  <a:close/>
                  <a:moveTo>
                    <a:pt x="1104" y="91"/>
                  </a:moveTo>
                  <a:cubicBezTo>
                    <a:pt x="1108" y="89"/>
                    <a:pt x="1112" y="93"/>
                    <a:pt x="1115" y="94"/>
                  </a:cubicBezTo>
                  <a:cubicBezTo>
                    <a:pt x="1112" y="96"/>
                    <a:pt x="1108" y="92"/>
                    <a:pt x="1104" y="91"/>
                  </a:cubicBezTo>
                  <a:close/>
                  <a:moveTo>
                    <a:pt x="215" y="250"/>
                  </a:moveTo>
                  <a:cubicBezTo>
                    <a:pt x="215" y="251"/>
                    <a:pt x="214" y="252"/>
                    <a:pt x="215" y="252"/>
                  </a:cubicBezTo>
                  <a:cubicBezTo>
                    <a:pt x="217" y="250"/>
                    <a:pt x="221" y="244"/>
                    <a:pt x="217" y="245"/>
                  </a:cubicBezTo>
                  <a:cubicBezTo>
                    <a:pt x="222" y="239"/>
                    <a:pt x="233" y="233"/>
                    <a:pt x="233" y="227"/>
                  </a:cubicBezTo>
                  <a:cubicBezTo>
                    <a:pt x="238" y="227"/>
                    <a:pt x="246" y="222"/>
                    <a:pt x="248" y="214"/>
                  </a:cubicBezTo>
                  <a:cubicBezTo>
                    <a:pt x="246" y="214"/>
                    <a:pt x="243" y="217"/>
                    <a:pt x="242" y="215"/>
                  </a:cubicBezTo>
                  <a:cubicBezTo>
                    <a:pt x="248" y="212"/>
                    <a:pt x="251" y="208"/>
                    <a:pt x="258" y="206"/>
                  </a:cubicBezTo>
                  <a:cubicBezTo>
                    <a:pt x="260" y="209"/>
                    <a:pt x="257" y="213"/>
                    <a:pt x="257" y="216"/>
                  </a:cubicBezTo>
                  <a:cubicBezTo>
                    <a:pt x="262" y="217"/>
                    <a:pt x="268" y="210"/>
                    <a:pt x="274" y="208"/>
                  </a:cubicBezTo>
                  <a:cubicBezTo>
                    <a:pt x="277" y="207"/>
                    <a:pt x="283" y="209"/>
                    <a:pt x="287" y="206"/>
                  </a:cubicBezTo>
                  <a:cubicBezTo>
                    <a:pt x="288" y="206"/>
                    <a:pt x="290" y="202"/>
                    <a:pt x="292" y="201"/>
                  </a:cubicBezTo>
                  <a:cubicBezTo>
                    <a:pt x="297" y="196"/>
                    <a:pt x="310" y="191"/>
                    <a:pt x="305" y="187"/>
                  </a:cubicBezTo>
                  <a:cubicBezTo>
                    <a:pt x="309" y="187"/>
                    <a:pt x="308" y="182"/>
                    <a:pt x="311" y="180"/>
                  </a:cubicBezTo>
                  <a:cubicBezTo>
                    <a:pt x="313" y="181"/>
                    <a:pt x="313" y="182"/>
                    <a:pt x="314" y="181"/>
                  </a:cubicBezTo>
                  <a:cubicBezTo>
                    <a:pt x="323" y="157"/>
                    <a:pt x="359" y="143"/>
                    <a:pt x="376" y="124"/>
                  </a:cubicBezTo>
                  <a:cubicBezTo>
                    <a:pt x="369" y="128"/>
                    <a:pt x="360" y="131"/>
                    <a:pt x="353" y="134"/>
                  </a:cubicBezTo>
                  <a:cubicBezTo>
                    <a:pt x="361" y="124"/>
                    <a:pt x="378" y="117"/>
                    <a:pt x="387" y="108"/>
                  </a:cubicBezTo>
                  <a:cubicBezTo>
                    <a:pt x="396" y="101"/>
                    <a:pt x="401" y="100"/>
                    <a:pt x="400" y="94"/>
                  </a:cubicBezTo>
                  <a:cubicBezTo>
                    <a:pt x="322" y="137"/>
                    <a:pt x="252" y="193"/>
                    <a:pt x="200" y="258"/>
                  </a:cubicBezTo>
                  <a:cubicBezTo>
                    <a:pt x="202" y="257"/>
                    <a:pt x="206" y="253"/>
                    <a:pt x="208" y="254"/>
                  </a:cubicBezTo>
                  <a:cubicBezTo>
                    <a:pt x="203" y="260"/>
                    <a:pt x="192" y="264"/>
                    <a:pt x="192" y="271"/>
                  </a:cubicBezTo>
                  <a:cubicBezTo>
                    <a:pt x="194" y="265"/>
                    <a:pt x="199" y="268"/>
                    <a:pt x="203" y="266"/>
                  </a:cubicBezTo>
                  <a:cubicBezTo>
                    <a:pt x="210" y="262"/>
                    <a:pt x="210" y="255"/>
                    <a:pt x="215" y="250"/>
                  </a:cubicBezTo>
                  <a:close/>
                  <a:moveTo>
                    <a:pt x="63" y="1119"/>
                  </a:moveTo>
                  <a:cubicBezTo>
                    <a:pt x="63" y="1103"/>
                    <a:pt x="54" y="1079"/>
                    <a:pt x="50" y="1063"/>
                  </a:cubicBezTo>
                  <a:cubicBezTo>
                    <a:pt x="48" y="1055"/>
                    <a:pt x="40" y="1047"/>
                    <a:pt x="37" y="1040"/>
                  </a:cubicBezTo>
                  <a:cubicBezTo>
                    <a:pt x="33" y="1032"/>
                    <a:pt x="30" y="1023"/>
                    <a:pt x="27" y="1015"/>
                  </a:cubicBezTo>
                  <a:cubicBezTo>
                    <a:pt x="21" y="998"/>
                    <a:pt x="12" y="982"/>
                    <a:pt x="8" y="967"/>
                  </a:cubicBezTo>
                  <a:cubicBezTo>
                    <a:pt x="7" y="962"/>
                    <a:pt x="6" y="954"/>
                    <a:pt x="5" y="947"/>
                  </a:cubicBezTo>
                  <a:cubicBezTo>
                    <a:pt x="4" y="944"/>
                    <a:pt x="0" y="929"/>
                    <a:pt x="1" y="934"/>
                  </a:cubicBezTo>
                  <a:cubicBezTo>
                    <a:pt x="15" y="1040"/>
                    <a:pt x="48" y="1132"/>
                    <a:pt x="89" y="1208"/>
                  </a:cubicBezTo>
                  <a:cubicBezTo>
                    <a:pt x="80" y="1183"/>
                    <a:pt x="62" y="1159"/>
                    <a:pt x="61" y="1131"/>
                  </a:cubicBezTo>
                  <a:cubicBezTo>
                    <a:pt x="61" y="1127"/>
                    <a:pt x="63" y="1123"/>
                    <a:pt x="63" y="1119"/>
                  </a:cubicBezTo>
                  <a:close/>
                  <a:moveTo>
                    <a:pt x="585" y="5"/>
                  </a:moveTo>
                  <a:cubicBezTo>
                    <a:pt x="584" y="5"/>
                    <a:pt x="583" y="5"/>
                    <a:pt x="583" y="4"/>
                  </a:cubicBezTo>
                  <a:cubicBezTo>
                    <a:pt x="584" y="4"/>
                    <a:pt x="585" y="4"/>
                    <a:pt x="585" y="3"/>
                  </a:cubicBezTo>
                  <a:cubicBezTo>
                    <a:pt x="581" y="3"/>
                    <a:pt x="578" y="3"/>
                    <a:pt x="577" y="6"/>
                  </a:cubicBezTo>
                  <a:cubicBezTo>
                    <a:pt x="580" y="7"/>
                    <a:pt x="584" y="7"/>
                    <a:pt x="585" y="5"/>
                  </a:cubicBezTo>
                  <a:close/>
                </a:path>
              </a:pathLst>
            </a:custGeom>
            <a:solidFill>
              <a:srgbClr val="BFBFBF">
                <a:alpha val="50000"/>
              </a:srgb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 dirty="0"/>
            </a:p>
          </p:txBody>
        </p:sp>
      </p:grpSp>
      <p:sp>
        <p:nvSpPr>
          <p:cNvPr id="4" name="Titolo 3"/>
          <p:cNvSpPr>
            <a:spLocks noGrp="1"/>
          </p:cNvSpPr>
          <p:nvPr>
            <p:ph type="title"/>
          </p:nvPr>
        </p:nvSpPr>
        <p:spPr>
          <a:xfrm>
            <a:off x="457200" y="421756"/>
            <a:ext cx="8229600" cy="576064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it-IT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okusi tek doganat dhe menaxhimi ndërkufitar</a:t>
            </a:r>
            <a:endParaRPr lang="sq-AL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" name="Segnaposto numero diapositiva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73B3EE-C6E1-4677-9EE1-12A9228F3BCC}" type="slidenum">
              <a:rPr lang="it-IT"/>
              <a:pPr>
                <a:defRPr/>
              </a:pPr>
              <a:t>5</a:t>
            </a:fld>
            <a:endParaRPr lang="sq-AL"/>
          </a:p>
        </p:txBody>
      </p:sp>
      <p:sp>
        <p:nvSpPr>
          <p:cNvPr id="5" name="Freeform 3"/>
          <p:cNvSpPr>
            <a:spLocks noEditPoints="1"/>
          </p:cNvSpPr>
          <p:nvPr>
            <p:custDataLst>
              <p:tags r:id="rId1"/>
            </p:custDataLst>
          </p:nvPr>
        </p:nvSpPr>
        <p:spPr bwMode="auto">
          <a:xfrm>
            <a:off x="821197" y="2564904"/>
            <a:ext cx="804862" cy="307975"/>
          </a:xfrm>
          <a:custGeom>
            <a:avLst/>
            <a:gdLst/>
            <a:ahLst/>
            <a:cxnLst>
              <a:cxn ang="0">
                <a:pos x="2" y="89"/>
              </a:cxn>
              <a:cxn ang="0">
                <a:pos x="4" y="91"/>
              </a:cxn>
              <a:cxn ang="0">
                <a:pos x="5" y="91"/>
              </a:cxn>
              <a:cxn ang="0">
                <a:pos x="91" y="62"/>
              </a:cxn>
              <a:cxn ang="0">
                <a:pos x="114" y="62"/>
              </a:cxn>
              <a:cxn ang="0">
                <a:pos x="116" y="64"/>
              </a:cxn>
              <a:cxn ang="0">
                <a:pos x="116" y="95"/>
              </a:cxn>
              <a:cxn ang="0">
                <a:pos x="118" y="97"/>
              </a:cxn>
              <a:cxn ang="0">
                <a:pos x="133" y="97"/>
              </a:cxn>
              <a:cxn ang="0">
                <a:pos x="136" y="96"/>
              </a:cxn>
              <a:cxn ang="0">
                <a:pos x="159" y="62"/>
              </a:cxn>
              <a:cxn ang="0">
                <a:pos x="162" y="60"/>
              </a:cxn>
              <a:cxn ang="0">
                <a:pos x="168" y="60"/>
              </a:cxn>
              <a:cxn ang="0">
                <a:pos x="198" y="60"/>
              </a:cxn>
              <a:cxn ang="0">
                <a:pos x="212" y="60"/>
              </a:cxn>
              <a:cxn ang="0">
                <a:pos x="247" y="53"/>
              </a:cxn>
              <a:cxn ang="0">
                <a:pos x="204" y="30"/>
              </a:cxn>
              <a:cxn ang="0">
                <a:pos x="198" y="30"/>
              </a:cxn>
              <a:cxn ang="0">
                <a:pos x="169" y="30"/>
              </a:cxn>
              <a:cxn ang="0">
                <a:pos x="65" y="30"/>
              </a:cxn>
              <a:cxn ang="0">
                <a:pos x="62" y="29"/>
              </a:cxn>
              <a:cxn ang="0">
                <a:pos x="34" y="2"/>
              </a:cxn>
              <a:cxn ang="0">
                <a:pos x="30" y="0"/>
              </a:cxn>
              <a:cxn ang="0">
                <a:pos x="18" y="0"/>
              </a:cxn>
              <a:cxn ang="0">
                <a:pos x="17" y="2"/>
              </a:cxn>
              <a:cxn ang="0">
                <a:pos x="45" y="60"/>
              </a:cxn>
              <a:cxn ang="0">
                <a:pos x="48" y="62"/>
              </a:cxn>
              <a:cxn ang="0">
                <a:pos x="72" y="62"/>
              </a:cxn>
              <a:cxn ang="0">
                <a:pos x="3" y="85"/>
              </a:cxn>
              <a:cxn ang="0">
                <a:pos x="2" y="89"/>
              </a:cxn>
              <a:cxn ang="0">
                <a:pos x="1" y="62"/>
              </a:cxn>
              <a:cxn ang="0">
                <a:pos x="6" y="76"/>
              </a:cxn>
              <a:cxn ang="0">
                <a:pos x="11" y="78"/>
              </a:cxn>
              <a:cxn ang="0">
                <a:pos x="35" y="70"/>
              </a:cxn>
              <a:cxn ang="0">
                <a:pos x="38" y="65"/>
              </a:cxn>
              <a:cxn ang="0">
                <a:pos x="33" y="51"/>
              </a:cxn>
              <a:cxn ang="0">
                <a:pos x="28" y="48"/>
              </a:cxn>
              <a:cxn ang="0">
                <a:pos x="4" y="56"/>
              </a:cxn>
              <a:cxn ang="0">
                <a:pos x="1" y="62"/>
              </a:cxn>
            </a:cxnLst>
            <a:rect l="0" t="0" r="r" b="b"/>
            <a:pathLst>
              <a:path w="253" h="97">
                <a:moveTo>
                  <a:pt x="2" y="89"/>
                </a:moveTo>
                <a:cubicBezTo>
                  <a:pt x="2" y="91"/>
                  <a:pt x="3" y="91"/>
                  <a:pt x="4" y="91"/>
                </a:cubicBezTo>
                <a:cubicBezTo>
                  <a:pt x="5" y="91"/>
                  <a:pt x="5" y="91"/>
                  <a:pt x="5" y="91"/>
                </a:cubicBezTo>
                <a:cubicBezTo>
                  <a:pt x="91" y="62"/>
                  <a:pt x="91" y="62"/>
                  <a:pt x="91" y="62"/>
                </a:cubicBezTo>
                <a:cubicBezTo>
                  <a:pt x="114" y="62"/>
                  <a:pt x="114" y="62"/>
                  <a:pt x="114" y="62"/>
                </a:cubicBezTo>
                <a:cubicBezTo>
                  <a:pt x="115" y="62"/>
                  <a:pt x="116" y="63"/>
                  <a:pt x="116" y="64"/>
                </a:cubicBezTo>
                <a:cubicBezTo>
                  <a:pt x="116" y="95"/>
                  <a:pt x="116" y="95"/>
                  <a:pt x="116" y="95"/>
                </a:cubicBezTo>
                <a:cubicBezTo>
                  <a:pt x="116" y="96"/>
                  <a:pt x="117" y="97"/>
                  <a:pt x="118" y="97"/>
                </a:cubicBezTo>
                <a:cubicBezTo>
                  <a:pt x="133" y="97"/>
                  <a:pt x="133" y="97"/>
                  <a:pt x="133" y="97"/>
                </a:cubicBezTo>
                <a:cubicBezTo>
                  <a:pt x="134" y="97"/>
                  <a:pt x="136" y="97"/>
                  <a:pt x="136" y="96"/>
                </a:cubicBezTo>
                <a:cubicBezTo>
                  <a:pt x="159" y="62"/>
                  <a:pt x="159" y="62"/>
                  <a:pt x="159" y="62"/>
                </a:cubicBezTo>
                <a:cubicBezTo>
                  <a:pt x="159" y="61"/>
                  <a:pt x="161" y="60"/>
                  <a:pt x="162" y="60"/>
                </a:cubicBezTo>
                <a:cubicBezTo>
                  <a:pt x="162" y="60"/>
                  <a:pt x="163" y="60"/>
                  <a:pt x="168" y="60"/>
                </a:cubicBezTo>
                <a:cubicBezTo>
                  <a:pt x="198" y="60"/>
                  <a:pt x="198" y="60"/>
                  <a:pt x="198" y="60"/>
                </a:cubicBezTo>
                <a:cubicBezTo>
                  <a:pt x="204" y="60"/>
                  <a:pt x="209" y="60"/>
                  <a:pt x="212" y="60"/>
                </a:cubicBezTo>
                <a:cubicBezTo>
                  <a:pt x="223" y="60"/>
                  <a:pt x="244" y="61"/>
                  <a:pt x="247" y="53"/>
                </a:cubicBezTo>
                <a:cubicBezTo>
                  <a:pt x="253" y="40"/>
                  <a:pt x="224" y="30"/>
                  <a:pt x="204" y="30"/>
                </a:cubicBezTo>
                <a:cubicBezTo>
                  <a:pt x="203" y="30"/>
                  <a:pt x="201" y="30"/>
                  <a:pt x="198" y="30"/>
                </a:cubicBezTo>
                <a:cubicBezTo>
                  <a:pt x="169" y="30"/>
                  <a:pt x="169" y="30"/>
                  <a:pt x="169" y="30"/>
                </a:cubicBezTo>
                <a:cubicBezTo>
                  <a:pt x="129" y="30"/>
                  <a:pt x="65" y="30"/>
                  <a:pt x="65" y="30"/>
                </a:cubicBezTo>
                <a:cubicBezTo>
                  <a:pt x="64" y="30"/>
                  <a:pt x="63" y="30"/>
                  <a:pt x="62" y="29"/>
                </a:cubicBezTo>
                <a:cubicBezTo>
                  <a:pt x="34" y="2"/>
                  <a:pt x="34" y="2"/>
                  <a:pt x="34" y="2"/>
                </a:cubicBezTo>
                <a:cubicBezTo>
                  <a:pt x="33" y="1"/>
                  <a:pt x="32" y="0"/>
                  <a:pt x="30" y="0"/>
                </a:cubicBezTo>
                <a:cubicBezTo>
                  <a:pt x="18" y="0"/>
                  <a:pt x="18" y="0"/>
                  <a:pt x="18" y="0"/>
                </a:cubicBezTo>
                <a:cubicBezTo>
                  <a:pt x="17" y="0"/>
                  <a:pt x="16" y="1"/>
                  <a:pt x="17" y="2"/>
                </a:cubicBezTo>
                <a:cubicBezTo>
                  <a:pt x="45" y="60"/>
                  <a:pt x="45" y="60"/>
                  <a:pt x="45" y="60"/>
                </a:cubicBezTo>
                <a:cubicBezTo>
                  <a:pt x="46" y="61"/>
                  <a:pt x="47" y="62"/>
                  <a:pt x="48" y="62"/>
                </a:cubicBezTo>
                <a:cubicBezTo>
                  <a:pt x="72" y="62"/>
                  <a:pt x="72" y="62"/>
                  <a:pt x="72" y="62"/>
                </a:cubicBezTo>
                <a:cubicBezTo>
                  <a:pt x="3" y="85"/>
                  <a:pt x="3" y="85"/>
                  <a:pt x="3" y="85"/>
                </a:cubicBezTo>
                <a:cubicBezTo>
                  <a:pt x="2" y="86"/>
                  <a:pt x="1" y="88"/>
                  <a:pt x="2" y="89"/>
                </a:cubicBezTo>
                <a:close/>
                <a:moveTo>
                  <a:pt x="1" y="62"/>
                </a:moveTo>
                <a:cubicBezTo>
                  <a:pt x="6" y="76"/>
                  <a:pt x="6" y="76"/>
                  <a:pt x="6" y="76"/>
                </a:cubicBezTo>
                <a:cubicBezTo>
                  <a:pt x="6" y="78"/>
                  <a:pt x="9" y="79"/>
                  <a:pt x="11" y="78"/>
                </a:cubicBezTo>
                <a:cubicBezTo>
                  <a:pt x="35" y="70"/>
                  <a:pt x="35" y="70"/>
                  <a:pt x="35" y="70"/>
                </a:cubicBezTo>
                <a:cubicBezTo>
                  <a:pt x="38" y="70"/>
                  <a:pt x="39" y="67"/>
                  <a:pt x="38" y="65"/>
                </a:cubicBezTo>
                <a:cubicBezTo>
                  <a:pt x="33" y="51"/>
                  <a:pt x="33" y="51"/>
                  <a:pt x="33" y="51"/>
                </a:cubicBezTo>
                <a:cubicBezTo>
                  <a:pt x="33" y="49"/>
                  <a:pt x="30" y="47"/>
                  <a:pt x="28" y="48"/>
                </a:cubicBezTo>
                <a:cubicBezTo>
                  <a:pt x="4" y="56"/>
                  <a:pt x="4" y="56"/>
                  <a:pt x="4" y="56"/>
                </a:cubicBezTo>
                <a:cubicBezTo>
                  <a:pt x="1" y="57"/>
                  <a:pt x="0" y="59"/>
                  <a:pt x="1" y="62"/>
                </a:cubicBez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6" name="Freeform 4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11561" y="3357894"/>
            <a:ext cx="1224135" cy="247080"/>
          </a:xfrm>
          <a:custGeom>
            <a:avLst/>
            <a:gdLst/>
            <a:ahLst/>
            <a:cxnLst>
              <a:cxn ang="0">
                <a:pos x="2" y="71"/>
              </a:cxn>
              <a:cxn ang="0">
                <a:pos x="26" y="71"/>
              </a:cxn>
              <a:cxn ang="0">
                <a:pos x="26" y="58"/>
              </a:cxn>
              <a:cxn ang="0">
                <a:pos x="29" y="50"/>
              </a:cxn>
              <a:cxn ang="0">
                <a:pos x="46" y="33"/>
              </a:cxn>
              <a:cxn ang="0">
                <a:pos x="54" y="29"/>
              </a:cxn>
              <a:cxn ang="0">
                <a:pos x="63" y="29"/>
              </a:cxn>
              <a:cxn ang="0">
                <a:pos x="63" y="2"/>
              </a:cxn>
              <a:cxn ang="0">
                <a:pos x="65" y="0"/>
              </a:cxn>
              <a:cxn ang="0">
                <a:pos x="67" y="2"/>
              </a:cxn>
              <a:cxn ang="0">
                <a:pos x="67" y="29"/>
              </a:cxn>
              <a:cxn ang="0">
                <a:pos x="118" y="29"/>
              </a:cxn>
              <a:cxn ang="0">
                <a:pos x="123" y="34"/>
              </a:cxn>
              <a:cxn ang="0">
                <a:pos x="123" y="71"/>
              </a:cxn>
              <a:cxn ang="0">
                <a:pos x="149" y="71"/>
              </a:cxn>
              <a:cxn ang="0">
                <a:pos x="149" y="71"/>
              </a:cxn>
              <a:cxn ang="0">
                <a:pos x="149" y="49"/>
              </a:cxn>
              <a:cxn ang="0">
                <a:pos x="150" y="48"/>
              </a:cxn>
              <a:cxn ang="0">
                <a:pos x="195" y="48"/>
              </a:cxn>
              <a:cxn ang="0">
                <a:pos x="197" y="49"/>
              </a:cxn>
              <a:cxn ang="0">
                <a:pos x="197" y="71"/>
              </a:cxn>
              <a:cxn ang="0">
                <a:pos x="197" y="71"/>
              </a:cxn>
              <a:cxn ang="0">
                <a:pos x="204" y="71"/>
              </a:cxn>
              <a:cxn ang="0">
                <a:pos x="204" y="71"/>
              </a:cxn>
              <a:cxn ang="0">
                <a:pos x="204" y="49"/>
              </a:cxn>
              <a:cxn ang="0">
                <a:pos x="206" y="48"/>
              </a:cxn>
              <a:cxn ang="0">
                <a:pos x="251" y="48"/>
              </a:cxn>
              <a:cxn ang="0">
                <a:pos x="253" y="49"/>
              </a:cxn>
              <a:cxn ang="0">
                <a:pos x="253" y="71"/>
              </a:cxn>
              <a:cxn ang="0">
                <a:pos x="253" y="71"/>
              </a:cxn>
              <a:cxn ang="0">
                <a:pos x="260" y="71"/>
              </a:cxn>
              <a:cxn ang="0">
                <a:pos x="260" y="71"/>
              </a:cxn>
              <a:cxn ang="0">
                <a:pos x="260" y="49"/>
              </a:cxn>
              <a:cxn ang="0">
                <a:pos x="262" y="48"/>
              </a:cxn>
              <a:cxn ang="0">
                <a:pos x="307" y="48"/>
              </a:cxn>
              <a:cxn ang="0">
                <a:pos x="308" y="49"/>
              </a:cxn>
              <a:cxn ang="0">
                <a:pos x="308" y="71"/>
              </a:cxn>
              <a:cxn ang="0">
                <a:pos x="308" y="71"/>
              </a:cxn>
              <a:cxn ang="0">
                <a:pos x="312" y="71"/>
              </a:cxn>
              <a:cxn ang="0">
                <a:pos x="315" y="71"/>
              </a:cxn>
              <a:cxn ang="0">
                <a:pos x="316" y="71"/>
              </a:cxn>
              <a:cxn ang="0">
                <a:pos x="316" y="49"/>
              </a:cxn>
              <a:cxn ang="0">
                <a:pos x="317" y="48"/>
              </a:cxn>
              <a:cxn ang="0">
                <a:pos x="362" y="48"/>
              </a:cxn>
              <a:cxn ang="0">
                <a:pos x="364" y="49"/>
              </a:cxn>
              <a:cxn ang="0">
                <a:pos x="364" y="66"/>
              </a:cxn>
              <a:cxn ang="0">
                <a:pos x="397" y="66"/>
              </a:cxn>
              <a:cxn ang="0">
                <a:pos x="401" y="65"/>
              </a:cxn>
              <a:cxn ang="0">
                <a:pos x="404" y="63"/>
              </a:cxn>
              <a:cxn ang="0">
                <a:pos x="410" y="59"/>
              </a:cxn>
              <a:cxn ang="0">
                <a:pos x="453" y="59"/>
              </a:cxn>
              <a:cxn ang="0">
                <a:pos x="454" y="61"/>
              </a:cxn>
              <a:cxn ang="0">
                <a:pos x="448" y="75"/>
              </a:cxn>
              <a:cxn ang="0">
                <a:pos x="444" y="92"/>
              </a:cxn>
              <a:cxn ang="0">
                <a:pos x="446" y="95"/>
              </a:cxn>
              <a:cxn ang="0">
                <a:pos x="449" y="98"/>
              </a:cxn>
              <a:cxn ang="0">
                <a:pos x="449" y="100"/>
              </a:cxn>
              <a:cxn ang="0">
                <a:pos x="9" y="100"/>
              </a:cxn>
              <a:cxn ang="0">
                <a:pos x="5" y="98"/>
              </a:cxn>
              <a:cxn ang="0">
                <a:pos x="0" y="90"/>
              </a:cxn>
              <a:cxn ang="0">
                <a:pos x="0" y="73"/>
              </a:cxn>
              <a:cxn ang="0">
                <a:pos x="2" y="71"/>
              </a:cxn>
            </a:cxnLst>
            <a:rect l="0" t="0" r="r" b="b"/>
            <a:pathLst>
              <a:path w="454" h="100">
                <a:moveTo>
                  <a:pt x="2" y="71"/>
                </a:moveTo>
                <a:cubicBezTo>
                  <a:pt x="26" y="71"/>
                  <a:pt x="26" y="71"/>
                  <a:pt x="26" y="71"/>
                </a:cubicBezTo>
                <a:cubicBezTo>
                  <a:pt x="26" y="58"/>
                  <a:pt x="26" y="58"/>
                  <a:pt x="26" y="58"/>
                </a:cubicBezTo>
                <a:cubicBezTo>
                  <a:pt x="26" y="55"/>
                  <a:pt x="27" y="52"/>
                  <a:pt x="29" y="50"/>
                </a:cubicBezTo>
                <a:cubicBezTo>
                  <a:pt x="46" y="33"/>
                  <a:pt x="46" y="33"/>
                  <a:pt x="46" y="33"/>
                </a:cubicBezTo>
                <a:cubicBezTo>
                  <a:pt x="48" y="31"/>
                  <a:pt x="52" y="29"/>
                  <a:pt x="54" y="29"/>
                </a:cubicBezTo>
                <a:cubicBezTo>
                  <a:pt x="63" y="29"/>
                  <a:pt x="63" y="29"/>
                  <a:pt x="63" y="29"/>
                </a:cubicBezTo>
                <a:cubicBezTo>
                  <a:pt x="63" y="2"/>
                  <a:pt x="63" y="2"/>
                  <a:pt x="63" y="2"/>
                </a:cubicBezTo>
                <a:cubicBezTo>
                  <a:pt x="63" y="1"/>
                  <a:pt x="64" y="0"/>
                  <a:pt x="65" y="0"/>
                </a:cubicBezTo>
                <a:cubicBezTo>
                  <a:pt x="66" y="0"/>
                  <a:pt x="67" y="1"/>
                  <a:pt x="67" y="2"/>
                </a:cubicBezTo>
                <a:cubicBezTo>
                  <a:pt x="67" y="29"/>
                  <a:pt x="67" y="29"/>
                  <a:pt x="67" y="29"/>
                </a:cubicBezTo>
                <a:cubicBezTo>
                  <a:pt x="118" y="29"/>
                  <a:pt x="118" y="29"/>
                  <a:pt x="118" y="29"/>
                </a:cubicBezTo>
                <a:cubicBezTo>
                  <a:pt x="121" y="29"/>
                  <a:pt x="123" y="31"/>
                  <a:pt x="123" y="34"/>
                </a:cubicBezTo>
                <a:cubicBezTo>
                  <a:pt x="123" y="71"/>
                  <a:pt x="123" y="71"/>
                  <a:pt x="123" y="71"/>
                </a:cubicBezTo>
                <a:cubicBezTo>
                  <a:pt x="149" y="71"/>
                  <a:pt x="149" y="71"/>
                  <a:pt x="149" y="71"/>
                </a:cubicBezTo>
                <a:cubicBezTo>
                  <a:pt x="149" y="71"/>
                  <a:pt x="149" y="71"/>
                  <a:pt x="149" y="71"/>
                </a:cubicBezTo>
                <a:cubicBezTo>
                  <a:pt x="149" y="49"/>
                  <a:pt x="149" y="49"/>
                  <a:pt x="149" y="49"/>
                </a:cubicBezTo>
                <a:cubicBezTo>
                  <a:pt x="149" y="48"/>
                  <a:pt x="150" y="48"/>
                  <a:pt x="150" y="48"/>
                </a:cubicBezTo>
                <a:cubicBezTo>
                  <a:pt x="195" y="48"/>
                  <a:pt x="195" y="48"/>
                  <a:pt x="195" y="48"/>
                </a:cubicBezTo>
                <a:cubicBezTo>
                  <a:pt x="196" y="48"/>
                  <a:pt x="197" y="48"/>
                  <a:pt x="197" y="49"/>
                </a:cubicBezTo>
                <a:cubicBezTo>
                  <a:pt x="197" y="71"/>
                  <a:pt x="197" y="71"/>
                  <a:pt x="197" y="71"/>
                </a:cubicBezTo>
                <a:cubicBezTo>
                  <a:pt x="197" y="71"/>
                  <a:pt x="197" y="71"/>
                  <a:pt x="197" y="71"/>
                </a:cubicBezTo>
                <a:cubicBezTo>
                  <a:pt x="204" y="71"/>
                  <a:pt x="204" y="71"/>
                  <a:pt x="204" y="71"/>
                </a:cubicBezTo>
                <a:cubicBezTo>
                  <a:pt x="204" y="71"/>
                  <a:pt x="204" y="71"/>
                  <a:pt x="204" y="71"/>
                </a:cubicBezTo>
                <a:cubicBezTo>
                  <a:pt x="204" y="49"/>
                  <a:pt x="204" y="49"/>
                  <a:pt x="204" y="49"/>
                </a:cubicBezTo>
                <a:cubicBezTo>
                  <a:pt x="204" y="48"/>
                  <a:pt x="205" y="48"/>
                  <a:pt x="206" y="48"/>
                </a:cubicBezTo>
                <a:cubicBezTo>
                  <a:pt x="251" y="48"/>
                  <a:pt x="251" y="48"/>
                  <a:pt x="251" y="48"/>
                </a:cubicBezTo>
                <a:cubicBezTo>
                  <a:pt x="252" y="48"/>
                  <a:pt x="253" y="48"/>
                  <a:pt x="253" y="49"/>
                </a:cubicBezTo>
                <a:cubicBezTo>
                  <a:pt x="253" y="71"/>
                  <a:pt x="253" y="71"/>
                  <a:pt x="253" y="71"/>
                </a:cubicBezTo>
                <a:cubicBezTo>
                  <a:pt x="253" y="71"/>
                  <a:pt x="253" y="71"/>
                  <a:pt x="253" y="71"/>
                </a:cubicBezTo>
                <a:cubicBezTo>
                  <a:pt x="260" y="71"/>
                  <a:pt x="260" y="71"/>
                  <a:pt x="260" y="71"/>
                </a:cubicBezTo>
                <a:cubicBezTo>
                  <a:pt x="260" y="71"/>
                  <a:pt x="260" y="71"/>
                  <a:pt x="260" y="71"/>
                </a:cubicBezTo>
                <a:cubicBezTo>
                  <a:pt x="260" y="49"/>
                  <a:pt x="260" y="49"/>
                  <a:pt x="260" y="49"/>
                </a:cubicBezTo>
                <a:cubicBezTo>
                  <a:pt x="260" y="48"/>
                  <a:pt x="261" y="48"/>
                  <a:pt x="262" y="48"/>
                </a:cubicBezTo>
                <a:cubicBezTo>
                  <a:pt x="307" y="48"/>
                  <a:pt x="307" y="48"/>
                  <a:pt x="307" y="48"/>
                </a:cubicBezTo>
                <a:cubicBezTo>
                  <a:pt x="307" y="48"/>
                  <a:pt x="308" y="48"/>
                  <a:pt x="308" y="49"/>
                </a:cubicBezTo>
                <a:cubicBezTo>
                  <a:pt x="308" y="71"/>
                  <a:pt x="308" y="71"/>
                  <a:pt x="308" y="71"/>
                </a:cubicBezTo>
                <a:cubicBezTo>
                  <a:pt x="308" y="71"/>
                  <a:pt x="308" y="71"/>
                  <a:pt x="308" y="71"/>
                </a:cubicBezTo>
                <a:cubicBezTo>
                  <a:pt x="312" y="71"/>
                  <a:pt x="312" y="71"/>
                  <a:pt x="312" y="71"/>
                </a:cubicBezTo>
                <a:cubicBezTo>
                  <a:pt x="313" y="71"/>
                  <a:pt x="314" y="71"/>
                  <a:pt x="315" y="71"/>
                </a:cubicBezTo>
                <a:cubicBezTo>
                  <a:pt x="315" y="71"/>
                  <a:pt x="315" y="71"/>
                  <a:pt x="316" y="71"/>
                </a:cubicBezTo>
                <a:cubicBezTo>
                  <a:pt x="316" y="49"/>
                  <a:pt x="316" y="49"/>
                  <a:pt x="316" y="49"/>
                </a:cubicBezTo>
                <a:cubicBezTo>
                  <a:pt x="316" y="48"/>
                  <a:pt x="316" y="48"/>
                  <a:pt x="317" y="48"/>
                </a:cubicBezTo>
                <a:cubicBezTo>
                  <a:pt x="362" y="48"/>
                  <a:pt x="362" y="48"/>
                  <a:pt x="362" y="48"/>
                </a:cubicBezTo>
                <a:cubicBezTo>
                  <a:pt x="363" y="48"/>
                  <a:pt x="364" y="48"/>
                  <a:pt x="364" y="49"/>
                </a:cubicBezTo>
                <a:cubicBezTo>
                  <a:pt x="364" y="66"/>
                  <a:pt x="364" y="66"/>
                  <a:pt x="364" y="66"/>
                </a:cubicBezTo>
                <a:cubicBezTo>
                  <a:pt x="397" y="66"/>
                  <a:pt x="397" y="66"/>
                  <a:pt x="397" y="66"/>
                </a:cubicBezTo>
                <a:cubicBezTo>
                  <a:pt x="398" y="66"/>
                  <a:pt x="400" y="66"/>
                  <a:pt x="401" y="65"/>
                </a:cubicBezTo>
                <a:cubicBezTo>
                  <a:pt x="401" y="65"/>
                  <a:pt x="402" y="65"/>
                  <a:pt x="404" y="63"/>
                </a:cubicBezTo>
                <a:cubicBezTo>
                  <a:pt x="407" y="60"/>
                  <a:pt x="409" y="59"/>
                  <a:pt x="410" y="59"/>
                </a:cubicBezTo>
                <a:cubicBezTo>
                  <a:pt x="453" y="59"/>
                  <a:pt x="453" y="59"/>
                  <a:pt x="453" y="59"/>
                </a:cubicBezTo>
                <a:cubicBezTo>
                  <a:pt x="454" y="59"/>
                  <a:pt x="454" y="60"/>
                  <a:pt x="454" y="61"/>
                </a:cubicBezTo>
                <a:cubicBezTo>
                  <a:pt x="454" y="61"/>
                  <a:pt x="451" y="67"/>
                  <a:pt x="448" y="75"/>
                </a:cubicBezTo>
                <a:cubicBezTo>
                  <a:pt x="445" y="84"/>
                  <a:pt x="444" y="89"/>
                  <a:pt x="444" y="92"/>
                </a:cubicBezTo>
                <a:cubicBezTo>
                  <a:pt x="444" y="93"/>
                  <a:pt x="444" y="94"/>
                  <a:pt x="446" y="95"/>
                </a:cubicBezTo>
                <a:cubicBezTo>
                  <a:pt x="449" y="98"/>
                  <a:pt x="449" y="98"/>
                  <a:pt x="449" y="98"/>
                </a:cubicBezTo>
                <a:cubicBezTo>
                  <a:pt x="450" y="99"/>
                  <a:pt x="450" y="100"/>
                  <a:pt x="449" y="100"/>
                </a:cubicBezTo>
                <a:cubicBezTo>
                  <a:pt x="9" y="100"/>
                  <a:pt x="9" y="100"/>
                  <a:pt x="9" y="100"/>
                </a:cubicBezTo>
                <a:cubicBezTo>
                  <a:pt x="8" y="100"/>
                  <a:pt x="6" y="99"/>
                  <a:pt x="5" y="98"/>
                </a:cubicBezTo>
                <a:cubicBezTo>
                  <a:pt x="5" y="98"/>
                  <a:pt x="0" y="92"/>
                  <a:pt x="0" y="90"/>
                </a:cubicBezTo>
                <a:cubicBezTo>
                  <a:pt x="0" y="73"/>
                  <a:pt x="0" y="73"/>
                  <a:pt x="0" y="73"/>
                </a:cubicBezTo>
                <a:cubicBezTo>
                  <a:pt x="0" y="72"/>
                  <a:pt x="1" y="71"/>
                  <a:pt x="2" y="71"/>
                </a:cubicBez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7" name="Freeform 5"/>
          <p:cNvSpPr>
            <a:spLocks noEditPoints="1"/>
          </p:cNvSpPr>
          <p:nvPr>
            <p:custDataLst>
              <p:tags r:id="rId3"/>
            </p:custDataLst>
          </p:nvPr>
        </p:nvSpPr>
        <p:spPr bwMode="auto">
          <a:xfrm>
            <a:off x="827584" y="4173611"/>
            <a:ext cx="792088" cy="240730"/>
          </a:xfrm>
          <a:custGeom>
            <a:avLst/>
            <a:gdLst/>
            <a:ahLst/>
            <a:cxnLst>
              <a:cxn ang="0">
                <a:pos x="190" y="80"/>
              </a:cxn>
              <a:cxn ang="0">
                <a:pos x="190" y="88"/>
              </a:cxn>
              <a:cxn ang="0">
                <a:pos x="192" y="90"/>
              </a:cxn>
              <a:cxn ang="0">
                <a:pos x="256" y="90"/>
              </a:cxn>
              <a:cxn ang="0">
                <a:pos x="260" y="89"/>
              </a:cxn>
              <a:cxn ang="0">
                <a:pos x="265" y="83"/>
              </a:cxn>
              <a:cxn ang="0">
                <a:pos x="268" y="82"/>
              </a:cxn>
              <a:cxn ang="0">
                <a:pos x="269" y="82"/>
              </a:cxn>
              <a:cxn ang="0">
                <a:pos x="269" y="84"/>
              </a:cxn>
              <a:cxn ang="0">
                <a:pos x="282" y="98"/>
              </a:cxn>
              <a:cxn ang="0">
                <a:pos x="296" y="84"/>
              </a:cxn>
              <a:cxn ang="0">
                <a:pos x="295" y="82"/>
              </a:cxn>
              <a:cxn ang="0">
                <a:pos x="303" y="82"/>
              </a:cxn>
              <a:cxn ang="0">
                <a:pos x="305" y="80"/>
              </a:cxn>
              <a:cxn ang="0">
                <a:pos x="305" y="44"/>
              </a:cxn>
              <a:cxn ang="0">
                <a:pos x="305" y="40"/>
              </a:cxn>
              <a:cxn ang="0">
                <a:pos x="292" y="12"/>
              </a:cxn>
              <a:cxn ang="0">
                <a:pos x="289" y="10"/>
              </a:cxn>
              <a:cxn ang="0">
                <a:pos x="231" y="10"/>
              </a:cxn>
              <a:cxn ang="0">
                <a:pos x="229" y="12"/>
              </a:cxn>
              <a:cxn ang="0">
                <a:pos x="229" y="76"/>
              </a:cxn>
              <a:cxn ang="0">
                <a:pos x="227" y="78"/>
              </a:cxn>
              <a:cxn ang="0">
                <a:pos x="192" y="78"/>
              </a:cxn>
              <a:cxn ang="0">
                <a:pos x="190" y="80"/>
              </a:cxn>
              <a:cxn ang="0">
                <a:pos x="274" y="18"/>
              </a:cxn>
              <a:cxn ang="0">
                <a:pos x="276" y="16"/>
              </a:cxn>
              <a:cxn ang="0">
                <a:pos x="284" y="16"/>
              </a:cxn>
              <a:cxn ang="0">
                <a:pos x="287" y="18"/>
              </a:cxn>
              <a:cxn ang="0">
                <a:pos x="296" y="37"/>
              </a:cxn>
              <a:cxn ang="0">
                <a:pos x="294" y="39"/>
              </a:cxn>
              <a:cxn ang="0">
                <a:pos x="276" y="39"/>
              </a:cxn>
              <a:cxn ang="0">
                <a:pos x="274" y="37"/>
              </a:cxn>
              <a:cxn ang="0">
                <a:pos x="274" y="18"/>
              </a:cxn>
              <a:cxn ang="0">
                <a:pos x="0" y="2"/>
              </a:cxn>
              <a:cxn ang="0">
                <a:pos x="0" y="81"/>
              </a:cxn>
              <a:cxn ang="0">
                <a:pos x="2" y="84"/>
              </a:cxn>
              <a:cxn ang="0">
                <a:pos x="44" y="84"/>
              </a:cxn>
              <a:cxn ang="0">
                <a:pos x="44" y="84"/>
              </a:cxn>
              <a:cxn ang="0">
                <a:pos x="58" y="98"/>
              </a:cxn>
              <a:cxn ang="0">
                <a:pos x="71" y="84"/>
              </a:cxn>
              <a:cxn ang="0">
                <a:pos x="71" y="84"/>
              </a:cxn>
              <a:cxn ang="0">
                <a:pos x="81" y="84"/>
              </a:cxn>
              <a:cxn ang="0">
                <a:pos x="81" y="84"/>
              </a:cxn>
              <a:cxn ang="0">
                <a:pos x="94" y="98"/>
              </a:cxn>
              <a:cxn ang="0">
                <a:pos x="107" y="84"/>
              </a:cxn>
              <a:cxn ang="0">
                <a:pos x="107" y="84"/>
              </a:cxn>
              <a:cxn ang="0">
                <a:pos x="168" y="84"/>
              </a:cxn>
              <a:cxn ang="0">
                <a:pos x="172" y="82"/>
              </a:cxn>
              <a:cxn ang="0">
                <a:pos x="182" y="72"/>
              </a:cxn>
              <a:cxn ang="0">
                <a:pos x="186" y="70"/>
              </a:cxn>
              <a:cxn ang="0">
                <a:pos x="221" y="70"/>
              </a:cxn>
              <a:cxn ang="0">
                <a:pos x="223" y="68"/>
              </a:cxn>
              <a:cxn ang="0">
                <a:pos x="223" y="2"/>
              </a:cxn>
              <a:cxn ang="0">
                <a:pos x="221" y="0"/>
              </a:cxn>
              <a:cxn ang="0">
                <a:pos x="2" y="0"/>
              </a:cxn>
              <a:cxn ang="0">
                <a:pos x="0" y="2"/>
              </a:cxn>
            </a:cxnLst>
            <a:rect l="0" t="0" r="r" b="b"/>
            <a:pathLst>
              <a:path w="305" h="98">
                <a:moveTo>
                  <a:pt x="190" y="80"/>
                </a:moveTo>
                <a:cubicBezTo>
                  <a:pt x="190" y="88"/>
                  <a:pt x="190" y="88"/>
                  <a:pt x="190" y="88"/>
                </a:cubicBezTo>
                <a:cubicBezTo>
                  <a:pt x="190" y="89"/>
                  <a:pt x="191" y="90"/>
                  <a:pt x="192" y="90"/>
                </a:cubicBezTo>
                <a:cubicBezTo>
                  <a:pt x="256" y="90"/>
                  <a:pt x="256" y="90"/>
                  <a:pt x="256" y="90"/>
                </a:cubicBezTo>
                <a:cubicBezTo>
                  <a:pt x="257" y="90"/>
                  <a:pt x="259" y="89"/>
                  <a:pt x="260" y="89"/>
                </a:cubicBezTo>
                <a:cubicBezTo>
                  <a:pt x="265" y="83"/>
                  <a:pt x="265" y="83"/>
                  <a:pt x="265" y="83"/>
                </a:cubicBezTo>
                <a:cubicBezTo>
                  <a:pt x="266" y="83"/>
                  <a:pt x="267" y="82"/>
                  <a:pt x="268" y="82"/>
                </a:cubicBezTo>
                <a:cubicBezTo>
                  <a:pt x="269" y="82"/>
                  <a:pt x="269" y="82"/>
                  <a:pt x="269" y="82"/>
                </a:cubicBezTo>
                <a:cubicBezTo>
                  <a:pt x="269" y="83"/>
                  <a:pt x="269" y="84"/>
                  <a:pt x="269" y="84"/>
                </a:cubicBezTo>
                <a:cubicBezTo>
                  <a:pt x="269" y="92"/>
                  <a:pt x="275" y="98"/>
                  <a:pt x="282" y="98"/>
                </a:cubicBezTo>
                <a:cubicBezTo>
                  <a:pt x="290" y="98"/>
                  <a:pt x="296" y="92"/>
                  <a:pt x="296" y="84"/>
                </a:cubicBezTo>
                <a:cubicBezTo>
                  <a:pt x="296" y="84"/>
                  <a:pt x="295" y="83"/>
                  <a:pt x="295" y="82"/>
                </a:cubicBezTo>
                <a:cubicBezTo>
                  <a:pt x="303" y="82"/>
                  <a:pt x="303" y="82"/>
                  <a:pt x="303" y="82"/>
                </a:cubicBezTo>
                <a:cubicBezTo>
                  <a:pt x="304" y="82"/>
                  <a:pt x="305" y="81"/>
                  <a:pt x="305" y="80"/>
                </a:cubicBezTo>
                <a:cubicBezTo>
                  <a:pt x="305" y="44"/>
                  <a:pt x="305" y="44"/>
                  <a:pt x="305" y="44"/>
                </a:cubicBezTo>
                <a:cubicBezTo>
                  <a:pt x="305" y="43"/>
                  <a:pt x="305" y="41"/>
                  <a:pt x="305" y="40"/>
                </a:cubicBezTo>
                <a:cubicBezTo>
                  <a:pt x="292" y="12"/>
                  <a:pt x="292" y="12"/>
                  <a:pt x="292" y="12"/>
                </a:cubicBezTo>
                <a:cubicBezTo>
                  <a:pt x="291" y="11"/>
                  <a:pt x="290" y="10"/>
                  <a:pt x="289" y="10"/>
                </a:cubicBezTo>
                <a:cubicBezTo>
                  <a:pt x="231" y="10"/>
                  <a:pt x="231" y="10"/>
                  <a:pt x="231" y="10"/>
                </a:cubicBezTo>
                <a:cubicBezTo>
                  <a:pt x="230" y="10"/>
                  <a:pt x="229" y="11"/>
                  <a:pt x="229" y="12"/>
                </a:cubicBezTo>
                <a:cubicBezTo>
                  <a:pt x="229" y="76"/>
                  <a:pt x="229" y="76"/>
                  <a:pt x="229" y="76"/>
                </a:cubicBezTo>
                <a:cubicBezTo>
                  <a:pt x="229" y="77"/>
                  <a:pt x="228" y="78"/>
                  <a:pt x="227" y="78"/>
                </a:cubicBezTo>
                <a:cubicBezTo>
                  <a:pt x="192" y="78"/>
                  <a:pt x="192" y="78"/>
                  <a:pt x="192" y="78"/>
                </a:cubicBezTo>
                <a:cubicBezTo>
                  <a:pt x="191" y="78"/>
                  <a:pt x="190" y="79"/>
                  <a:pt x="190" y="80"/>
                </a:cubicBezTo>
                <a:close/>
                <a:moveTo>
                  <a:pt x="274" y="18"/>
                </a:moveTo>
                <a:cubicBezTo>
                  <a:pt x="274" y="17"/>
                  <a:pt x="274" y="16"/>
                  <a:pt x="276" y="16"/>
                </a:cubicBezTo>
                <a:cubicBezTo>
                  <a:pt x="284" y="16"/>
                  <a:pt x="284" y="16"/>
                  <a:pt x="284" y="16"/>
                </a:cubicBezTo>
                <a:cubicBezTo>
                  <a:pt x="286" y="16"/>
                  <a:pt x="287" y="17"/>
                  <a:pt x="287" y="18"/>
                </a:cubicBezTo>
                <a:cubicBezTo>
                  <a:pt x="296" y="37"/>
                  <a:pt x="296" y="37"/>
                  <a:pt x="296" y="37"/>
                </a:cubicBezTo>
                <a:cubicBezTo>
                  <a:pt x="296" y="38"/>
                  <a:pt x="296" y="39"/>
                  <a:pt x="294" y="39"/>
                </a:cubicBezTo>
                <a:cubicBezTo>
                  <a:pt x="276" y="39"/>
                  <a:pt x="276" y="39"/>
                  <a:pt x="276" y="39"/>
                </a:cubicBezTo>
                <a:cubicBezTo>
                  <a:pt x="274" y="39"/>
                  <a:pt x="274" y="38"/>
                  <a:pt x="274" y="37"/>
                </a:cubicBezTo>
                <a:lnTo>
                  <a:pt x="274" y="18"/>
                </a:lnTo>
                <a:close/>
                <a:moveTo>
                  <a:pt x="0" y="2"/>
                </a:moveTo>
                <a:cubicBezTo>
                  <a:pt x="0" y="81"/>
                  <a:pt x="0" y="81"/>
                  <a:pt x="0" y="81"/>
                </a:cubicBezTo>
                <a:cubicBezTo>
                  <a:pt x="0" y="83"/>
                  <a:pt x="1" y="84"/>
                  <a:pt x="2" y="84"/>
                </a:cubicBezTo>
                <a:cubicBezTo>
                  <a:pt x="44" y="84"/>
                  <a:pt x="44" y="84"/>
                  <a:pt x="44" y="84"/>
                </a:cubicBezTo>
                <a:cubicBezTo>
                  <a:pt x="44" y="84"/>
                  <a:pt x="44" y="84"/>
                  <a:pt x="44" y="84"/>
                </a:cubicBezTo>
                <a:cubicBezTo>
                  <a:pt x="44" y="92"/>
                  <a:pt x="50" y="98"/>
                  <a:pt x="58" y="98"/>
                </a:cubicBezTo>
                <a:cubicBezTo>
                  <a:pt x="65" y="98"/>
                  <a:pt x="71" y="92"/>
                  <a:pt x="71" y="84"/>
                </a:cubicBezTo>
                <a:cubicBezTo>
                  <a:pt x="71" y="84"/>
                  <a:pt x="71" y="84"/>
                  <a:pt x="71" y="84"/>
                </a:cubicBezTo>
                <a:cubicBezTo>
                  <a:pt x="81" y="84"/>
                  <a:pt x="81" y="84"/>
                  <a:pt x="81" y="84"/>
                </a:cubicBezTo>
                <a:cubicBezTo>
                  <a:pt x="81" y="84"/>
                  <a:pt x="81" y="84"/>
                  <a:pt x="81" y="84"/>
                </a:cubicBezTo>
                <a:cubicBezTo>
                  <a:pt x="81" y="92"/>
                  <a:pt x="87" y="98"/>
                  <a:pt x="94" y="98"/>
                </a:cubicBezTo>
                <a:cubicBezTo>
                  <a:pt x="101" y="98"/>
                  <a:pt x="107" y="92"/>
                  <a:pt x="107" y="84"/>
                </a:cubicBezTo>
                <a:cubicBezTo>
                  <a:pt x="107" y="84"/>
                  <a:pt x="107" y="84"/>
                  <a:pt x="107" y="84"/>
                </a:cubicBezTo>
                <a:cubicBezTo>
                  <a:pt x="168" y="84"/>
                  <a:pt x="168" y="84"/>
                  <a:pt x="168" y="84"/>
                </a:cubicBezTo>
                <a:cubicBezTo>
                  <a:pt x="170" y="84"/>
                  <a:pt x="171" y="83"/>
                  <a:pt x="172" y="82"/>
                </a:cubicBezTo>
                <a:cubicBezTo>
                  <a:pt x="182" y="72"/>
                  <a:pt x="182" y="72"/>
                  <a:pt x="182" y="72"/>
                </a:cubicBezTo>
                <a:cubicBezTo>
                  <a:pt x="183" y="71"/>
                  <a:pt x="185" y="70"/>
                  <a:pt x="186" y="70"/>
                </a:cubicBezTo>
                <a:cubicBezTo>
                  <a:pt x="221" y="70"/>
                  <a:pt x="221" y="70"/>
                  <a:pt x="221" y="70"/>
                </a:cubicBezTo>
                <a:cubicBezTo>
                  <a:pt x="222" y="70"/>
                  <a:pt x="223" y="69"/>
                  <a:pt x="223" y="68"/>
                </a:cubicBezTo>
                <a:cubicBezTo>
                  <a:pt x="223" y="2"/>
                  <a:pt x="223" y="2"/>
                  <a:pt x="223" y="2"/>
                </a:cubicBezTo>
                <a:cubicBezTo>
                  <a:pt x="223" y="1"/>
                  <a:pt x="222" y="0"/>
                  <a:pt x="221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0"/>
                  <a:pt x="0" y="1"/>
                  <a:pt x="0" y="2"/>
                </a:cubicBez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9" name="Freeform 24"/>
          <p:cNvSpPr>
            <a:spLocks noEditPoints="1"/>
          </p:cNvSpPr>
          <p:nvPr>
            <p:custDataLst>
              <p:tags r:id="rId4"/>
            </p:custDataLst>
          </p:nvPr>
        </p:nvSpPr>
        <p:spPr bwMode="auto">
          <a:xfrm>
            <a:off x="719572" y="4941168"/>
            <a:ext cx="1008112" cy="226442"/>
          </a:xfrm>
          <a:custGeom>
            <a:avLst/>
            <a:gdLst/>
            <a:ahLst/>
            <a:cxnLst>
              <a:cxn ang="0">
                <a:pos x="0" y="79"/>
              </a:cxn>
              <a:cxn ang="0">
                <a:pos x="15" y="94"/>
              </a:cxn>
              <a:cxn ang="0">
                <a:pos x="169" y="89"/>
              </a:cxn>
              <a:cxn ang="0">
                <a:pos x="177" y="75"/>
              </a:cxn>
              <a:cxn ang="0">
                <a:pos x="184" y="80"/>
              </a:cxn>
              <a:cxn ang="0">
                <a:pos x="198" y="93"/>
              </a:cxn>
              <a:cxn ang="0">
                <a:pos x="364" y="90"/>
              </a:cxn>
              <a:cxn ang="0">
                <a:pos x="375" y="80"/>
              </a:cxn>
              <a:cxn ang="0">
                <a:pos x="382" y="75"/>
              </a:cxn>
              <a:cxn ang="0">
                <a:pos x="385" y="81"/>
              </a:cxn>
              <a:cxn ang="0">
                <a:pos x="388" y="62"/>
              </a:cxn>
              <a:cxn ang="0">
                <a:pos x="382" y="62"/>
              </a:cxn>
              <a:cxn ang="0">
                <a:pos x="375" y="66"/>
              </a:cxn>
              <a:cxn ang="0">
                <a:pos x="373" y="29"/>
              </a:cxn>
              <a:cxn ang="0">
                <a:pos x="354" y="5"/>
              </a:cxn>
              <a:cxn ang="0">
                <a:pos x="193" y="0"/>
              </a:cxn>
              <a:cxn ang="0">
                <a:pos x="184" y="34"/>
              </a:cxn>
              <a:cxn ang="0">
                <a:pos x="184" y="66"/>
              </a:cxn>
              <a:cxn ang="0">
                <a:pos x="177" y="22"/>
              </a:cxn>
              <a:cxn ang="0">
                <a:pos x="174" y="18"/>
              </a:cxn>
              <a:cxn ang="0">
                <a:pos x="168" y="16"/>
              </a:cxn>
              <a:cxn ang="0">
                <a:pos x="167" y="14"/>
              </a:cxn>
              <a:cxn ang="0">
                <a:pos x="160" y="11"/>
              </a:cxn>
              <a:cxn ang="0">
                <a:pos x="157" y="4"/>
              </a:cxn>
              <a:cxn ang="0">
                <a:pos x="147" y="7"/>
              </a:cxn>
              <a:cxn ang="0">
                <a:pos x="138" y="4"/>
              </a:cxn>
              <a:cxn ang="0">
                <a:pos x="134" y="4"/>
              </a:cxn>
              <a:cxn ang="0">
                <a:pos x="126" y="8"/>
              </a:cxn>
              <a:cxn ang="0">
                <a:pos x="116" y="4"/>
              </a:cxn>
              <a:cxn ang="0">
                <a:pos x="113" y="5"/>
              </a:cxn>
              <a:cxn ang="0">
                <a:pos x="102" y="6"/>
              </a:cxn>
              <a:cxn ang="0">
                <a:pos x="101" y="10"/>
              </a:cxn>
              <a:cxn ang="0">
                <a:pos x="91" y="7"/>
              </a:cxn>
              <a:cxn ang="0">
                <a:pos x="89" y="4"/>
              </a:cxn>
              <a:cxn ang="0">
                <a:pos x="80" y="7"/>
              </a:cxn>
              <a:cxn ang="0">
                <a:pos x="70" y="4"/>
              </a:cxn>
              <a:cxn ang="0">
                <a:pos x="67" y="8"/>
              </a:cxn>
              <a:cxn ang="0">
                <a:pos x="59" y="4"/>
              </a:cxn>
              <a:cxn ang="0">
                <a:pos x="51" y="4"/>
              </a:cxn>
              <a:cxn ang="0">
                <a:pos x="46" y="8"/>
              </a:cxn>
              <a:cxn ang="0">
                <a:pos x="44" y="6"/>
              </a:cxn>
              <a:cxn ang="0">
                <a:pos x="31" y="3"/>
              </a:cxn>
              <a:cxn ang="0">
                <a:pos x="26" y="8"/>
              </a:cxn>
              <a:cxn ang="0">
                <a:pos x="23" y="4"/>
              </a:cxn>
              <a:cxn ang="0">
                <a:pos x="14" y="11"/>
              </a:cxn>
              <a:cxn ang="0">
                <a:pos x="12" y="14"/>
              </a:cxn>
              <a:cxn ang="0">
                <a:pos x="4" y="14"/>
              </a:cxn>
              <a:cxn ang="0">
                <a:pos x="0" y="22"/>
              </a:cxn>
              <a:cxn ang="0">
                <a:pos x="325" y="22"/>
              </a:cxn>
              <a:cxn ang="0">
                <a:pos x="325" y="6"/>
              </a:cxn>
              <a:cxn ang="0">
                <a:pos x="349" y="7"/>
              </a:cxn>
              <a:cxn ang="0">
                <a:pos x="329" y="27"/>
              </a:cxn>
              <a:cxn ang="0">
                <a:pos x="200" y="69"/>
              </a:cxn>
              <a:cxn ang="0">
                <a:pos x="358" y="72"/>
              </a:cxn>
              <a:cxn ang="0">
                <a:pos x="200" y="75"/>
              </a:cxn>
              <a:cxn ang="0">
                <a:pos x="155" y="14"/>
              </a:cxn>
              <a:cxn ang="0">
                <a:pos x="155" y="14"/>
              </a:cxn>
              <a:cxn ang="0">
                <a:pos x="11" y="69"/>
              </a:cxn>
              <a:cxn ang="0">
                <a:pos x="168" y="70"/>
              </a:cxn>
              <a:cxn ang="0">
                <a:pos x="167" y="75"/>
              </a:cxn>
              <a:cxn ang="0">
                <a:pos x="9" y="72"/>
              </a:cxn>
            </a:cxnLst>
            <a:rect l="0" t="0" r="r" b="b"/>
            <a:pathLst>
              <a:path w="388" h="94">
                <a:moveTo>
                  <a:pt x="0" y="22"/>
                </a:moveTo>
                <a:cubicBezTo>
                  <a:pt x="0" y="79"/>
                  <a:pt x="0" y="79"/>
                  <a:pt x="0" y="79"/>
                </a:cubicBezTo>
                <a:cubicBezTo>
                  <a:pt x="0" y="84"/>
                  <a:pt x="4" y="88"/>
                  <a:pt x="8" y="89"/>
                </a:cubicBezTo>
                <a:cubicBezTo>
                  <a:pt x="9" y="92"/>
                  <a:pt x="12" y="94"/>
                  <a:pt x="15" y="94"/>
                </a:cubicBezTo>
                <a:cubicBezTo>
                  <a:pt x="163" y="94"/>
                  <a:pt x="163" y="94"/>
                  <a:pt x="163" y="94"/>
                </a:cubicBezTo>
                <a:cubicBezTo>
                  <a:pt x="166" y="94"/>
                  <a:pt x="168" y="92"/>
                  <a:pt x="169" y="89"/>
                </a:cubicBezTo>
                <a:cubicBezTo>
                  <a:pt x="174" y="88"/>
                  <a:pt x="177" y="84"/>
                  <a:pt x="177" y="79"/>
                </a:cubicBezTo>
                <a:cubicBezTo>
                  <a:pt x="177" y="75"/>
                  <a:pt x="177" y="75"/>
                  <a:pt x="177" y="75"/>
                </a:cubicBezTo>
                <a:cubicBezTo>
                  <a:pt x="184" y="75"/>
                  <a:pt x="184" y="75"/>
                  <a:pt x="184" y="75"/>
                </a:cubicBezTo>
                <a:cubicBezTo>
                  <a:pt x="184" y="80"/>
                  <a:pt x="184" y="80"/>
                  <a:pt x="184" y="80"/>
                </a:cubicBezTo>
                <a:cubicBezTo>
                  <a:pt x="184" y="85"/>
                  <a:pt x="187" y="89"/>
                  <a:pt x="192" y="90"/>
                </a:cubicBezTo>
                <a:cubicBezTo>
                  <a:pt x="193" y="92"/>
                  <a:pt x="195" y="93"/>
                  <a:pt x="198" y="93"/>
                </a:cubicBezTo>
                <a:cubicBezTo>
                  <a:pt x="358" y="93"/>
                  <a:pt x="358" y="93"/>
                  <a:pt x="358" y="93"/>
                </a:cubicBezTo>
                <a:cubicBezTo>
                  <a:pt x="361" y="93"/>
                  <a:pt x="363" y="92"/>
                  <a:pt x="364" y="90"/>
                </a:cubicBezTo>
                <a:cubicBezTo>
                  <a:pt x="365" y="90"/>
                  <a:pt x="365" y="90"/>
                  <a:pt x="365" y="90"/>
                </a:cubicBezTo>
                <a:cubicBezTo>
                  <a:pt x="370" y="90"/>
                  <a:pt x="375" y="86"/>
                  <a:pt x="375" y="80"/>
                </a:cubicBezTo>
                <a:cubicBezTo>
                  <a:pt x="375" y="75"/>
                  <a:pt x="375" y="75"/>
                  <a:pt x="375" y="75"/>
                </a:cubicBezTo>
                <a:cubicBezTo>
                  <a:pt x="382" y="75"/>
                  <a:pt x="382" y="75"/>
                  <a:pt x="382" y="75"/>
                </a:cubicBezTo>
                <a:cubicBezTo>
                  <a:pt x="382" y="78"/>
                  <a:pt x="382" y="78"/>
                  <a:pt x="382" y="78"/>
                </a:cubicBezTo>
                <a:cubicBezTo>
                  <a:pt x="382" y="80"/>
                  <a:pt x="383" y="81"/>
                  <a:pt x="385" y="81"/>
                </a:cubicBezTo>
                <a:cubicBezTo>
                  <a:pt x="386" y="81"/>
                  <a:pt x="388" y="80"/>
                  <a:pt x="388" y="78"/>
                </a:cubicBezTo>
                <a:cubicBezTo>
                  <a:pt x="388" y="62"/>
                  <a:pt x="388" y="62"/>
                  <a:pt x="388" y="62"/>
                </a:cubicBezTo>
                <a:cubicBezTo>
                  <a:pt x="388" y="60"/>
                  <a:pt x="386" y="59"/>
                  <a:pt x="385" y="59"/>
                </a:cubicBezTo>
                <a:cubicBezTo>
                  <a:pt x="383" y="59"/>
                  <a:pt x="382" y="60"/>
                  <a:pt x="382" y="62"/>
                </a:cubicBezTo>
                <a:cubicBezTo>
                  <a:pt x="382" y="66"/>
                  <a:pt x="382" y="66"/>
                  <a:pt x="382" y="66"/>
                </a:cubicBezTo>
                <a:cubicBezTo>
                  <a:pt x="375" y="66"/>
                  <a:pt x="375" y="66"/>
                  <a:pt x="375" y="66"/>
                </a:cubicBezTo>
                <a:cubicBezTo>
                  <a:pt x="375" y="34"/>
                  <a:pt x="375" y="34"/>
                  <a:pt x="375" y="34"/>
                </a:cubicBezTo>
                <a:cubicBezTo>
                  <a:pt x="375" y="32"/>
                  <a:pt x="374" y="30"/>
                  <a:pt x="373" y="29"/>
                </a:cubicBezTo>
                <a:cubicBezTo>
                  <a:pt x="373" y="29"/>
                  <a:pt x="373" y="29"/>
                  <a:pt x="373" y="29"/>
                </a:cubicBezTo>
                <a:cubicBezTo>
                  <a:pt x="354" y="5"/>
                  <a:pt x="354" y="5"/>
                  <a:pt x="354" y="5"/>
                </a:cubicBezTo>
                <a:cubicBezTo>
                  <a:pt x="354" y="5"/>
                  <a:pt x="350" y="0"/>
                  <a:pt x="335" y="0"/>
                </a:cubicBezTo>
                <a:cubicBezTo>
                  <a:pt x="322" y="0"/>
                  <a:pt x="224" y="0"/>
                  <a:pt x="193" y="0"/>
                </a:cubicBezTo>
                <a:cubicBezTo>
                  <a:pt x="184" y="0"/>
                  <a:pt x="184" y="7"/>
                  <a:pt x="184" y="7"/>
                </a:cubicBezTo>
                <a:cubicBezTo>
                  <a:pt x="184" y="34"/>
                  <a:pt x="184" y="34"/>
                  <a:pt x="184" y="34"/>
                </a:cubicBezTo>
                <a:cubicBezTo>
                  <a:pt x="184" y="34"/>
                  <a:pt x="184" y="34"/>
                  <a:pt x="184" y="34"/>
                </a:cubicBezTo>
                <a:cubicBezTo>
                  <a:pt x="184" y="66"/>
                  <a:pt x="184" y="66"/>
                  <a:pt x="184" y="66"/>
                </a:cubicBezTo>
                <a:cubicBezTo>
                  <a:pt x="177" y="66"/>
                  <a:pt x="177" y="66"/>
                  <a:pt x="177" y="66"/>
                </a:cubicBezTo>
                <a:cubicBezTo>
                  <a:pt x="177" y="22"/>
                  <a:pt x="177" y="22"/>
                  <a:pt x="177" y="22"/>
                </a:cubicBezTo>
                <a:cubicBezTo>
                  <a:pt x="174" y="22"/>
                  <a:pt x="174" y="22"/>
                  <a:pt x="174" y="22"/>
                </a:cubicBezTo>
                <a:cubicBezTo>
                  <a:pt x="174" y="18"/>
                  <a:pt x="174" y="18"/>
                  <a:pt x="174" y="18"/>
                </a:cubicBezTo>
                <a:cubicBezTo>
                  <a:pt x="174" y="17"/>
                  <a:pt x="173" y="16"/>
                  <a:pt x="172" y="16"/>
                </a:cubicBezTo>
                <a:cubicBezTo>
                  <a:pt x="168" y="16"/>
                  <a:pt x="168" y="16"/>
                  <a:pt x="168" y="16"/>
                </a:cubicBezTo>
                <a:cubicBezTo>
                  <a:pt x="167" y="15"/>
                  <a:pt x="167" y="15"/>
                  <a:pt x="167" y="15"/>
                </a:cubicBezTo>
                <a:cubicBezTo>
                  <a:pt x="167" y="14"/>
                  <a:pt x="167" y="14"/>
                  <a:pt x="167" y="14"/>
                </a:cubicBezTo>
                <a:cubicBezTo>
                  <a:pt x="168" y="13"/>
                  <a:pt x="167" y="12"/>
                  <a:pt x="166" y="12"/>
                </a:cubicBezTo>
                <a:cubicBezTo>
                  <a:pt x="160" y="11"/>
                  <a:pt x="160" y="11"/>
                  <a:pt x="160" y="11"/>
                </a:cubicBezTo>
                <a:cubicBezTo>
                  <a:pt x="159" y="5"/>
                  <a:pt x="159" y="5"/>
                  <a:pt x="159" y="5"/>
                </a:cubicBezTo>
                <a:cubicBezTo>
                  <a:pt x="159" y="5"/>
                  <a:pt x="158" y="4"/>
                  <a:pt x="157" y="4"/>
                </a:cubicBezTo>
                <a:cubicBezTo>
                  <a:pt x="148" y="6"/>
                  <a:pt x="148" y="6"/>
                  <a:pt x="148" y="6"/>
                </a:cubicBezTo>
                <a:cubicBezTo>
                  <a:pt x="147" y="6"/>
                  <a:pt x="147" y="7"/>
                  <a:pt x="147" y="7"/>
                </a:cubicBezTo>
                <a:cubicBezTo>
                  <a:pt x="140" y="3"/>
                  <a:pt x="140" y="3"/>
                  <a:pt x="140" y="3"/>
                </a:cubicBezTo>
                <a:cubicBezTo>
                  <a:pt x="139" y="3"/>
                  <a:pt x="138" y="3"/>
                  <a:pt x="138" y="4"/>
                </a:cubicBezTo>
                <a:cubicBezTo>
                  <a:pt x="136" y="7"/>
                  <a:pt x="136" y="7"/>
                  <a:pt x="136" y="7"/>
                </a:cubicBezTo>
                <a:cubicBezTo>
                  <a:pt x="134" y="4"/>
                  <a:pt x="134" y="4"/>
                  <a:pt x="134" y="4"/>
                </a:cubicBezTo>
                <a:cubicBezTo>
                  <a:pt x="133" y="3"/>
                  <a:pt x="132" y="3"/>
                  <a:pt x="132" y="4"/>
                </a:cubicBezTo>
                <a:cubicBezTo>
                  <a:pt x="126" y="8"/>
                  <a:pt x="126" y="8"/>
                  <a:pt x="126" y="8"/>
                </a:cubicBezTo>
                <a:cubicBezTo>
                  <a:pt x="118" y="4"/>
                  <a:pt x="118" y="4"/>
                  <a:pt x="118" y="4"/>
                </a:cubicBezTo>
                <a:cubicBezTo>
                  <a:pt x="117" y="3"/>
                  <a:pt x="116" y="4"/>
                  <a:pt x="116" y="4"/>
                </a:cubicBezTo>
                <a:cubicBezTo>
                  <a:pt x="113" y="8"/>
                  <a:pt x="113" y="8"/>
                  <a:pt x="113" y="8"/>
                </a:cubicBezTo>
                <a:cubicBezTo>
                  <a:pt x="113" y="5"/>
                  <a:pt x="113" y="5"/>
                  <a:pt x="113" y="5"/>
                </a:cubicBezTo>
                <a:cubicBezTo>
                  <a:pt x="113" y="5"/>
                  <a:pt x="112" y="4"/>
                  <a:pt x="111" y="4"/>
                </a:cubicBezTo>
                <a:cubicBezTo>
                  <a:pt x="102" y="6"/>
                  <a:pt x="102" y="6"/>
                  <a:pt x="102" y="6"/>
                </a:cubicBezTo>
                <a:cubicBezTo>
                  <a:pt x="101" y="6"/>
                  <a:pt x="100" y="7"/>
                  <a:pt x="101" y="8"/>
                </a:cubicBezTo>
                <a:cubicBezTo>
                  <a:pt x="101" y="10"/>
                  <a:pt x="101" y="10"/>
                  <a:pt x="101" y="10"/>
                </a:cubicBezTo>
                <a:cubicBezTo>
                  <a:pt x="93" y="6"/>
                  <a:pt x="93" y="6"/>
                  <a:pt x="93" y="6"/>
                </a:cubicBezTo>
                <a:cubicBezTo>
                  <a:pt x="92" y="6"/>
                  <a:pt x="91" y="6"/>
                  <a:pt x="91" y="7"/>
                </a:cubicBezTo>
                <a:cubicBezTo>
                  <a:pt x="91" y="8"/>
                  <a:pt x="91" y="8"/>
                  <a:pt x="91" y="8"/>
                </a:cubicBezTo>
                <a:cubicBezTo>
                  <a:pt x="89" y="4"/>
                  <a:pt x="89" y="4"/>
                  <a:pt x="89" y="4"/>
                </a:cubicBezTo>
                <a:cubicBezTo>
                  <a:pt x="89" y="3"/>
                  <a:pt x="88" y="3"/>
                  <a:pt x="87" y="3"/>
                </a:cubicBezTo>
                <a:cubicBezTo>
                  <a:pt x="80" y="7"/>
                  <a:pt x="80" y="7"/>
                  <a:pt x="80" y="7"/>
                </a:cubicBezTo>
                <a:cubicBezTo>
                  <a:pt x="80" y="7"/>
                  <a:pt x="79" y="6"/>
                  <a:pt x="79" y="6"/>
                </a:cubicBezTo>
                <a:cubicBezTo>
                  <a:pt x="70" y="4"/>
                  <a:pt x="70" y="4"/>
                  <a:pt x="70" y="4"/>
                </a:cubicBezTo>
                <a:cubicBezTo>
                  <a:pt x="69" y="4"/>
                  <a:pt x="68" y="5"/>
                  <a:pt x="68" y="5"/>
                </a:cubicBezTo>
                <a:cubicBezTo>
                  <a:pt x="67" y="8"/>
                  <a:pt x="67" y="8"/>
                  <a:pt x="67" y="8"/>
                </a:cubicBezTo>
                <a:cubicBezTo>
                  <a:pt x="61" y="4"/>
                  <a:pt x="61" y="4"/>
                  <a:pt x="61" y="4"/>
                </a:cubicBezTo>
                <a:cubicBezTo>
                  <a:pt x="60" y="3"/>
                  <a:pt x="59" y="4"/>
                  <a:pt x="59" y="4"/>
                </a:cubicBezTo>
                <a:cubicBezTo>
                  <a:pt x="57" y="7"/>
                  <a:pt x="57" y="7"/>
                  <a:pt x="57" y="7"/>
                </a:cubicBezTo>
                <a:cubicBezTo>
                  <a:pt x="51" y="4"/>
                  <a:pt x="51" y="4"/>
                  <a:pt x="51" y="4"/>
                </a:cubicBezTo>
                <a:cubicBezTo>
                  <a:pt x="50" y="3"/>
                  <a:pt x="49" y="4"/>
                  <a:pt x="49" y="4"/>
                </a:cubicBezTo>
                <a:cubicBezTo>
                  <a:pt x="46" y="8"/>
                  <a:pt x="46" y="8"/>
                  <a:pt x="46" y="8"/>
                </a:cubicBezTo>
                <a:cubicBezTo>
                  <a:pt x="45" y="7"/>
                  <a:pt x="45" y="7"/>
                  <a:pt x="45" y="7"/>
                </a:cubicBezTo>
                <a:cubicBezTo>
                  <a:pt x="45" y="6"/>
                  <a:pt x="44" y="6"/>
                  <a:pt x="44" y="6"/>
                </a:cubicBezTo>
                <a:cubicBezTo>
                  <a:pt x="39" y="8"/>
                  <a:pt x="39" y="8"/>
                  <a:pt x="39" y="8"/>
                </a:cubicBezTo>
                <a:cubicBezTo>
                  <a:pt x="31" y="3"/>
                  <a:pt x="31" y="3"/>
                  <a:pt x="31" y="3"/>
                </a:cubicBezTo>
                <a:cubicBezTo>
                  <a:pt x="30" y="3"/>
                  <a:pt x="29" y="3"/>
                  <a:pt x="29" y="4"/>
                </a:cubicBezTo>
                <a:cubicBezTo>
                  <a:pt x="26" y="8"/>
                  <a:pt x="26" y="8"/>
                  <a:pt x="26" y="8"/>
                </a:cubicBezTo>
                <a:cubicBezTo>
                  <a:pt x="25" y="5"/>
                  <a:pt x="25" y="5"/>
                  <a:pt x="25" y="5"/>
                </a:cubicBezTo>
                <a:cubicBezTo>
                  <a:pt x="25" y="4"/>
                  <a:pt x="24" y="4"/>
                  <a:pt x="23" y="4"/>
                </a:cubicBezTo>
                <a:cubicBezTo>
                  <a:pt x="14" y="9"/>
                  <a:pt x="14" y="9"/>
                  <a:pt x="14" y="9"/>
                </a:cubicBezTo>
                <a:cubicBezTo>
                  <a:pt x="14" y="9"/>
                  <a:pt x="13" y="10"/>
                  <a:pt x="14" y="11"/>
                </a:cubicBezTo>
                <a:cubicBezTo>
                  <a:pt x="14" y="11"/>
                  <a:pt x="14" y="11"/>
                  <a:pt x="14" y="11"/>
                </a:cubicBezTo>
                <a:cubicBezTo>
                  <a:pt x="12" y="14"/>
                  <a:pt x="12" y="14"/>
                  <a:pt x="12" y="14"/>
                </a:cubicBezTo>
                <a:cubicBezTo>
                  <a:pt x="6" y="13"/>
                  <a:pt x="6" y="13"/>
                  <a:pt x="6" y="13"/>
                </a:cubicBezTo>
                <a:cubicBezTo>
                  <a:pt x="5" y="13"/>
                  <a:pt x="4" y="13"/>
                  <a:pt x="4" y="14"/>
                </a:cubicBezTo>
                <a:cubicBezTo>
                  <a:pt x="3" y="22"/>
                  <a:pt x="3" y="22"/>
                  <a:pt x="3" y="22"/>
                </a:cubicBezTo>
                <a:lnTo>
                  <a:pt x="0" y="22"/>
                </a:lnTo>
                <a:close/>
                <a:moveTo>
                  <a:pt x="329" y="27"/>
                </a:moveTo>
                <a:cubicBezTo>
                  <a:pt x="329" y="27"/>
                  <a:pt x="325" y="26"/>
                  <a:pt x="325" y="22"/>
                </a:cubicBezTo>
                <a:cubicBezTo>
                  <a:pt x="325" y="19"/>
                  <a:pt x="325" y="8"/>
                  <a:pt x="325" y="8"/>
                </a:cubicBezTo>
                <a:cubicBezTo>
                  <a:pt x="325" y="6"/>
                  <a:pt x="325" y="6"/>
                  <a:pt x="325" y="6"/>
                </a:cubicBezTo>
                <a:cubicBezTo>
                  <a:pt x="325" y="6"/>
                  <a:pt x="345" y="6"/>
                  <a:pt x="347" y="6"/>
                </a:cubicBezTo>
                <a:cubicBezTo>
                  <a:pt x="348" y="6"/>
                  <a:pt x="349" y="7"/>
                  <a:pt x="349" y="7"/>
                </a:cubicBezTo>
                <a:cubicBezTo>
                  <a:pt x="365" y="27"/>
                  <a:pt x="365" y="27"/>
                  <a:pt x="365" y="27"/>
                </a:cubicBezTo>
                <a:lnTo>
                  <a:pt x="329" y="27"/>
                </a:lnTo>
                <a:close/>
                <a:moveTo>
                  <a:pt x="197" y="72"/>
                </a:moveTo>
                <a:cubicBezTo>
                  <a:pt x="197" y="71"/>
                  <a:pt x="198" y="69"/>
                  <a:pt x="200" y="69"/>
                </a:cubicBezTo>
                <a:cubicBezTo>
                  <a:pt x="355" y="69"/>
                  <a:pt x="355" y="69"/>
                  <a:pt x="355" y="69"/>
                </a:cubicBezTo>
                <a:cubicBezTo>
                  <a:pt x="356" y="69"/>
                  <a:pt x="358" y="71"/>
                  <a:pt x="358" y="72"/>
                </a:cubicBezTo>
                <a:cubicBezTo>
                  <a:pt x="358" y="74"/>
                  <a:pt x="356" y="75"/>
                  <a:pt x="355" y="75"/>
                </a:cubicBezTo>
                <a:cubicBezTo>
                  <a:pt x="200" y="75"/>
                  <a:pt x="200" y="75"/>
                  <a:pt x="200" y="75"/>
                </a:cubicBezTo>
                <a:cubicBezTo>
                  <a:pt x="198" y="75"/>
                  <a:pt x="197" y="74"/>
                  <a:pt x="197" y="72"/>
                </a:cubicBezTo>
                <a:close/>
                <a:moveTo>
                  <a:pt x="155" y="14"/>
                </a:moveTo>
                <a:cubicBezTo>
                  <a:pt x="155" y="15"/>
                  <a:pt x="155" y="15"/>
                  <a:pt x="155" y="15"/>
                </a:cubicBezTo>
                <a:cubicBezTo>
                  <a:pt x="155" y="14"/>
                  <a:pt x="155" y="14"/>
                  <a:pt x="155" y="14"/>
                </a:cubicBezTo>
                <a:close/>
                <a:moveTo>
                  <a:pt x="9" y="72"/>
                </a:moveTo>
                <a:cubicBezTo>
                  <a:pt x="9" y="71"/>
                  <a:pt x="10" y="69"/>
                  <a:pt x="11" y="69"/>
                </a:cubicBezTo>
                <a:cubicBezTo>
                  <a:pt x="167" y="69"/>
                  <a:pt x="167" y="69"/>
                  <a:pt x="167" y="69"/>
                </a:cubicBezTo>
                <a:cubicBezTo>
                  <a:pt x="167" y="69"/>
                  <a:pt x="168" y="70"/>
                  <a:pt x="168" y="70"/>
                </a:cubicBezTo>
                <a:cubicBezTo>
                  <a:pt x="168" y="74"/>
                  <a:pt x="168" y="74"/>
                  <a:pt x="168" y="74"/>
                </a:cubicBezTo>
                <a:cubicBezTo>
                  <a:pt x="168" y="74"/>
                  <a:pt x="167" y="75"/>
                  <a:pt x="167" y="75"/>
                </a:cubicBezTo>
                <a:cubicBezTo>
                  <a:pt x="11" y="75"/>
                  <a:pt x="11" y="75"/>
                  <a:pt x="11" y="75"/>
                </a:cubicBezTo>
                <a:cubicBezTo>
                  <a:pt x="10" y="75"/>
                  <a:pt x="9" y="74"/>
                  <a:pt x="9" y="72"/>
                </a:cubicBez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16" name="Nach rechts gekrümmter Pfeil 15"/>
          <p:cNvSpPr/>
          <p:nvPr/>
        </p:nvSpPr>
        <p:spPr>
          <a:xfrm>
            <a:off x="2555776" y="3391391"/>
            <a:ext cx="1800200" cy="1080120"/>
          </a:xfrm>
          <a:prstGeom prst="curvedRightArrow">
            <a:avLst>
              <a:gd name="adj1" fmla="val 25000"/>
              <a:gd name="adj2" fmla="val 47639"/>
              <a:gd name="adj3" fmla="val 2680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Freeform 32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7594178" y="4725144"/>
            <a:ext cx="401638" cy="432048"/>
          </a:xfrm>
          <a:custGeom>
            <a:avLst/>
            <a:gdLst/>
            <a:ahLst/>
            <a:cxnLst>
              <a:cxn ang="0">
                <a:pos x="124" y="86"/>
              </a:cxn>
              <a:cxn ang="0">
                <a:pos x="120" y="86"/>
              </a:cxn>
              <a:cxn ang="0">
                <a:pos x="120" y="68"/>
              </a:cxn>
              <a:cxn ang="0">
                <a:pos x="116" y="66"/>
              </a:cxn>
              <a:cxn ang="0">
                <a:pos x="91" y="86"/>
              </a:cxn>
              <a:cxn ang="0">
                <a:pos x="91" y="68"/>
              </a:cxn>
              <a:cxn ang="0">
                <a:pos x="87" y="66"/>
              </a:cxn>
              <a:cxn ang="0">
                <a:pos x="62" y="86"/>
              </a:cxn>
              <a:cxn ang="0">
                <a:pos x="62" y="68"/>
              </a:cxn>
              <a:cxn ang="0">
                <a:pos x="58" y="66"/>
              </a:cxn>
              <a:cxn ang="0">
                <a:pos x="32" y="86"/>
              </a:cxn>
              <a:cxn ang="0">
                <a:pos x="29" y="2"/>
              </a:cxn>
              <a:cxn ang="0">
                <a:pos x="27" y="0"/>
              </a:cxn>
              <a:cxn ang="0">
                <a:pos x="13" y="0"/>
              </a:cxn>
              <a:cxn ang="0">
                <a:pos x="10" y="2"/>
              </a:cxn>
              <a:cxn ang="0">
                <a:pos x="7" y="86"/>
              </a:cxn>
              <a:cxn ang="0">
                <a:pos x="2" y="86"/>
              </a:cxn>
              <a:cxn ang="0">
                <a:pos x="0" y="88"/>
              </a:cxn>
              <a:cxn ang="0">
                <a:pos x="0" y="133"/>
              </a:cxn>
              <a:cxn ang="0">
                <a:pos x="2" y="136"/>
              </a:cxn>
              <a:cxn ang="0">
                <a:pos x="124" y="136"/>
              </a:cxn>
              <a:cxn ang="0">
                <a:pos x="126" y="133"/>
              </a:cxn>
              <a:cxn ang="0">
                <a:pos x="126" y="88"/>
              </a:cxn>
              <a:cxn ang="0">
                <a:pos x="124" y="86"/>
              </a:cxn>
            </a:cxnLst>
            <a:rect l="0" t="0" r="r" b="b"/>
            <a:pathLst>
              <a:path w="126" h="136">
                <a:moveTo>
                  <a:pt x="124" y="86"/>
                </a:moveTo>
                <a:cubicBezTo>
                  <a:pt x="120" y="86"/>
                  <a:pt x="120" y="86"/>
                  <a:pt x="120" y="86"/>
                </a:cubicBezTo>
                <a:cubicBezTo>
                  <a:pt x="120" y="68"/>
                  <a:pt x="120" y="68"/>
                  <a:pt x="120" y="68"/>
                </a:cubicBezTo>
                <a:cubicBezTo>
                  <a:pt x="120" y="67"/>
                  <a:pt x="118" y="65"/>
                  <a:pt x="116" y="66"/>
                </a:cubicBezTo>
                <a:cubicBezTo>
                  <a:pt x="91" y="86"/>
                  <a:pt x="91" y="86"/>
                  <a:pt x="91" y="86"/>
                </a:cubicBezTo>
                <a:cubicBezTo>
                  <a:pt x="91" y="68"/>
                  <a:pt x="91" y="68"/>
                  <a:pt x="91" y="68"/>
                </a:cubicBezTo>
                <a:cubicBezTo>
                  <a:pt x="91" y="67"/>
                  <a:pt x="88" y="65"/>
                  <a:pt x="87" y="66"/>
                </a:cubicBezTo>
                <a:cubicBezTo>
                  <a:pt x="62" y="86"/>
                  <a:pt x="62" y="86"/>
                  <a:pt x="62" y="86"/>
                </a:cubicBezTo>
                <a:cubicBezTo>
                  <a:pt x="62" y="68"/>
                  <a:pt x="62" y="68"/>
                  <a:pt x="62" y="68"/>
                </a:cubicBezTo>
                <a:cubicBezTo>
                  <a:pt x="62" y="67"/>
                  <a:pt x="59" y="65"/>
                  <a:pt x="58" y="66"/>
                </a:cubicBezTo>
                <a:cubicBezTo>
                  <a:pt x="32" y="86"/>
                  <a:pt x="32" y="86"/>
                  <a:pt x="32" y="86"/>
                </a:cubicBezTo>
                <a:cubicBezTo>
                  <a:pt x="29" y="2"/>
                  <a:pt x="29" y="2"/>
                  <a:pt x="29" y="2"/>
                </a:cubicBezTo>
                <a:cubicBezTo>
                  <a:pt x="29" y="1"/>
                  <a:pt x="28" y="0"/>
                  <a:pt x="27" y="0"/>
                </a:cubicBezTo>
                <a:cubicBezTo>
                  <a:pt x="13" y="0"/>
                  <a:pt x="13" y="0"/>
                  <a:pt x="13" y="0"/>
                </a:cubicBezTo>
                <a:cubicBezTo>
                  <a:pt x="12" y="0"/>
                  <a:pt x="10" y="1"/>
                  <a:pt x="10" y="2"/>
                </a:cubicBezTo>
                <a:cubicBezTo>
                  <a:pt x="7" y="86"/>
                  <a:pt x="7" y="86"/>
                  <a:pt x="7" y="86"/>
                </a:cubicBezTo>
                <a:cubicBezTo>
                  <a:pt x="2" y="86"/>
                  <a:pt x="2" y="86"/>
                  <a:pt x="2" y="86"/>
                </a:cubicBezTo>
                <a:cubicBezTo>
                  <a:pt x="1" y="86"/>
                  <a:pt x="0" y="87"/>
                  <a:pt x="0" y="88"/>
                </a:cubicBezTo>
                <a:cubicBezTo>
                  <a:pt x="0" y="133"/>
                  <a:pt x="0" y="133"/>
                  <a:pt x="0" y="133"/>
                </a:cubicBezTo>
                <a:cubicBezTo>
                  <a:pt x="0" y="135"/>
                  <a:pt x="1" y="136"/>
                  <a:pt x="2" y="136"/>
                </a:cubicBezTo>
                <a:cubicBezTo>
                  <a:pt x="124" y="136"/>
                  <a:pt x="124" y="136"/>
                  <a:pt x="124" y="136"/>
                </a:cubicBezTo>
                <a:cubicBezTo>
                  <a:pt x="125" y="136"/>
                  <a:pt x="126" y="135"/>
                  <a:pt x="126" y="133"/>
                </a:cubicBezTo>
                <a:cubicBezTo>
                  <a:pt x="126" y="88"/>
                  <a:pt x="126" y="88"/>
                  <a:pt x="126" y="88"/>
                </a:cubicBezTo>
                <a:cubicBezTo>
                  <a:pt x="126" y="87"/>
                  <a:pt x="125" y="86"/>
                  <a:pt x="124" y="86"/>
                </a:cubicBez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21" name="Picture 88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579097" y="3648981"/>
            <a:ext cx="431800" cy="5000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sp>
        <p:nvSpPr>
          <p:cNvPr id="22" name="Freeform 54"/>
          <p:cNvSpPr>
            <a:spLocks noEditPoints="1"/>
          </p:cNvSpPr>
          <p:nvPr>
            <p:custDataLst>
              <p:tags r:id="rId6"/>
            </p:custDataLst>
          </p:nvPr>
        </p:nvSpPr>
        <p:spPr bwMode="auto">
          <a:xfrm>
            <a:off x="7524328" y="2644825"/>
            <a:ext cx="541338" cy="424135"/>
          </a:xfrm>
          <a:custGeom>
            <a:avLst/>
            <a:gdLst/>
            <a:ahLst/>
            <a:cxnLst>
              <a:cxn ang="0">
                <a:pos x="291" y="85"/>
              </a:cxn>
              <a:cxn ang="0">
                <a:pos x="300" y="76"/>
              </a:cxn>
              <a:cxn ang="0">
                <a:pos x="0" y="76"/>
              </a:cxn>
              <a:cxn ang="0">
                <a:pos x="9" y="85"/>
              </a:cxn>
              <a:cxn ang="0">
                <a:pos x="271" y="216"/>
              </a:cxn>
              <a:cxn ang="0">
                <a:pos x="266" y="208"/>
              </a:cxn>
              <a:cxn ang="0">
                <a:pos x="271" y="96"/>
              </a:cxn>
              <a:cxn ang="0">
                <a:pos x="262" y="85"/>
              </a:cxn>
              <a:cxn ang="0">
                <a:pos x="225" y="85"/>
              </a:cxn>
              <a:cxn ang="0">
                <a:pos x="232" y="96"/>
              </a:cxn>
              <a:cxn ang="0">
                <a:pos x="225" y="208"/>
              </a:cxn>
              <a:cxn ang="0">
                <a:pos x="206" y="216"/>
              </a:cxn>
              <a:cxn ang="0">
                <a:pos x="200" y="208"/>
              </a:cxn>
              <a:cxn ang="0">
                <a:pos x="206" y="96"/>
              </a:cxn>
              <a:cxn ang="0">
                <a:pos x="197" y="85"/>
              </a:cxn>
              <a:cxn ang="0">
                <a:pos x="160" y="85"/>
              </a:cxn>
              <a:cxn ang="0">
                <a:pos x="167" y="96"/>
              </a:cxn>
              <a:cxn ang="0">
                <a:pos x="160" y="208"/>
              </a:cxn>
              <a:cxn ang="0">
                <a:pos x="140" y="216"/>
              </a:cxn>
              <a:cxn ang="0">
                <a:pos x="135" y="208"/>
              </a:cxn>
              <a:cxn ang="0">
                <a:pos x="140" y="96"/>
              </a:cxn>
              <a:cxn ang="0">
                <a:pos x="131" y="85"/>
              </a:cxn>
              <a:cxn ang="0">
                <a:pos x="94" y="85"/>
              </a:cxn>
              <a:cxn ang="0">
                <a:pos x="101" y="96"/>
              </a:cxn>
              <a:cxn ang="0">
                <a:pos x="94" y="208"/>
              </a:cxn>
              <a:cxn ang="0">
                <a:pos x="74" y="216"/>
              </a:cxn>
              <a:cxn ang="0">
                <a:pos x="69" y="208"/>
              </a:cxn>
              <a:cxn ang="0">
                <a:pos x="74" y="96"/>
              </a:cxn>
              <a:cxn ang="0">
                <a:pos x="66" y="85"/>
              </a:cxn>
              <a:cxn ang="0">
                <a:pos x="28" y="85"/>
              </a:cxn>
              <a:cxn ang="0">
                <a:pos x="35" y="96"/>
              </a:cxn>
              <a:cxn ang="0">
                <a:pos x="28" y="208"/>
              </a:cxn>
              <a:cxn ang="0">
                <a:pos x="9" y="216"/>
              </a:cxn>
              <a:cxn ang="0">
                <a:pos x="0" y="227"/>
              </a:cxn>
              <a:cxn ang="0">
                <a:pos x="9" y="236"/>
              </a:cxn>
              <a:cxn ang="0">
                <a:pos x="300" y="236"/>
              </a:cxn>
              <a:cxn ang="0">
                <a:pos x="291" y="227"/>
              </a:cxn>
            </a:cxnLst>
            <a:rect l="0" t="0" r="r" b="b"/>
            <a:pathLst>
              <a:path w="300" h="236">
                <a:moveTo>
                  <a:pt x="9" y="85"/>
                </a:moveTo>
                <a:lnTo>
                  <a:pt x="291" y="85"/>
                </a:lnTo>
                <a:lnTo>
                  <a:pt x="291" y="76"/>
                </a:lnTo>
                <a:lnTo>
                  <a:pt x="300" y="76"/>
                </a:lnTo>
                <a:lnTo>
                  <a:pt x="149" y="0"/>
                </a:lnTo>
                <a:lnTo>
                  <a:pt x="0" y="76"/>
                </a:lnTo>
                <a:lnTo>
                  <a:pt x="9" y="76"/>
                </a:lnTo>
                <a:lnTo>
                  <a:pt x="9" y="85"/>
                </a:lnTo>
                <a:close/>
                <a:moveTo>
                  <a:pt x="291" y="216"/>
                </a:moveTo>
                <a:lnTo>
                  <a:pt x="271" y="216"/>
                </a:lnTo>
                <a:lnTo>
                  <a:pt x="271" y="208"/>
                </a:lnTo>
                <a:lnTo>
                  <a:pt x="266" y="208"/>
                </a:lnTo>
                <a:lnTo>
                  <a:pt x="264" y="96"/>
                </a:lnTo>
                <a:lnTo>
                  <a:pt x="271" y="96"/>
                </a:lnTo>
                <a:lnTo>
                  <a:pt x="271" y="85"/>
                </a:lnTo>
                <a:lnTo>
                  <a:pt x="262" y="85"/>
                </a:lnTo>
                <a:lnTo>
                  <a:pt x="232" y="85"/>
                </a:lnTo>
                <a:lnTo>
                  <a:pt x="225" y="85"/>
                </a:lnTo>
                <a:lnTo>
                  <a:pt x="225" y="96"/>
                </a:lnTo>
                <a:lnTo>
                  <a:pt x="232" y="96"/>
                </a:lnTo>
                <a:lnTo>
                  <a:pt x="229" y="208"/>
                </a:lnTo>
                <a:lnTo>
                  <a:pt x="225" y="208"/>
                </a:lnTo>
                <a:lnTo>
                  <a:pt x="225" y="216"/>
                </a:lnTo>
                <a:lnTo>
                  <a:pt x="206" y="216"/>
                </a:lnTo>
                <a:lnTo>
                  <a:pt x="206" y="208"/>
                </a:lnTo>
                <a:lnTo>
                  <a:pt x="200" y="208"/>
                </a:lnTo>
                <a:lnTo>
                  <a:pt x="199" y="96"/>
                </a:lnTo>
                <a:lnTo>
                  <a:pt x="206" y="96"/>
                </a:lnTo>
                <a:lnTo>
                  <a:pt x="206" y="85"/>
                </a:lnTo>
                <a:lnTo>
                  <a:pt x="197" y="85"/>
                </a:lnTo>
                <a:lnTo>
                  <a:pt x="167" y="85"/>
                </a:lnTo>
                <a:lnTo>
                  <a:pt x="160" y="85"/>
                </a:lnTo>
                <a:lnTo>
                  <a:pt x="160" y="96"/>
                </a:lnTo>
                <a:lnTo>
                  <a:pt x="167" y="96"/>
                </a:lnTo>
                <a:lnTo>
                  <a:pt x="163" y="208"/>
                </a:lnTo>
                <a:lnTo>
                  <a:pt x="160" y="208"/>
                </a:lnTo>
                <a:lnTo>
                  <a:pt x="160" y="216"/>
                </a:lnTo>
                <a:lnTo>
                  <a:pt x="140" y="216"/>
                </a:lnTo>
                <a:lnTo>
                  <a:pt x="140" y="208"/>
                </a:lnTo>
                <a:lnTo>
                  <a:pt x="135" y="208"/>
                </a:lnTo>
                <a:lnTo>
                  <a:pt x="133" y="96"/>
                </a:lnTo>
                <a:lnTo>
                  <a:pt x="140" y="96"/>
                </a:lnTo>
                <a:lnTo>
                  <a:pt x="140" y="85"/>
                </a:lnTo>
                <a:lnTo>
                  <a:pt x="131" y="85"/>
                </a:lnTo>
                <a:lnTo>
                  <a:pt x="101" y="85"/>
                </a:lnTo>
                <a:lnTo>
                  <a:pt x="94" y="85"/>
                </a:lnTo>
                <a:lnTo>
                  <a:pt x="94" y="96"/>
                </a:lnTo>
                <a:lnTo>
                  <a:pt x="101" y="96"/>
                </a:lnTo>
                <a:lnTo>
                  <a:pt x="97" y="208"/>
                </a:lnTo>
                <a:lnTo>
                  <a:pt x="94" y="208"/>
                </a:lnTo>
                <a:lnTo>
                  <a:pt x="94" y="216"/>
                </a:lnTo>
                <a:lnTo>
                  <a:pt x="74" y="216"/>
                </a:lnTo>
                <a:lnTo>
                  <a:pt x="74" y="208"/>
                </a:lnTo>
                <a:lnTo>
                  <a:pt x="69" y="208"/>
                </a:lnTo>
                <a:lnTo>
                  <a:pt x="67" y="96"/>
                </a:lnTo>
                <a:lnTo>
                  <a:pt x="74" y="96"/>
                </a:lnTo>
                <a:lnTo>
                  <a:pt x="74" y="85"/>
                </a:lnTo>
                <a:lnTo>
                  <a:pt x="66" y="85"/>
                </a:lnTo>
                <a:lnTo>
                  <a:pt x="35" y="85"/>
                </a:lnTo>
                <a:lnTo>
                  <a:pt x="28" y="85"/>
                </a:lnTo>
                <a:lnTo>
                  <a:pt x="28" y="96"/>
                </a:lnTo>
                <a:lnTo>
                  <a:pt x="35" y="96"/>
                </a:lnTo>
                <a:lnTo>
                  <a:pt x="32" y="208"/>
                </a:lnTo>
                <a:lnTo>
                  <a:pt x="28" y="208"/>
                </a:lnTo>
                <a:lnTo>
                  <a:pt x="28" y="216"/>
                </a:lnTo>
                <a:lnTo>
                  <a:pt x="9" y="216"/>
                </a:lnTo>
                <a:lnTo>
                  <a:pt x="9" y="227"/>
                </a:lnTo>
                <a:lnTo>
                  <a:pt x="0" y="227"/>
                </a:lnTo>
                <a:lnTo>
                  <a:pt x="0" y="236"/>
                </a:lnTo>
                <a:lnTo>
                  <a:pt x="9" y="236"/>
                </a:lnTo>
                <a:lnTo>
                  <a:pt x="291" y="236"/>
                </a:lnTo>
                <a:lnTo>
                  <a:pt x="300" y="236"/>
                </a:lnTo>
                <a:lnTo>
                  <a:pt x="300" y="227"/>
                </a:lnTo>
                <a:lnTo>
                  <a:pt x="291" y="227"/>
                </a:lnTo>
                <a:lnTo>
                  <a:pt x="291" y="216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3" name="Nach rechts gekrümmter Pfeil 22"/>
          <p:cNvSpPr/>
          <p:nvPr/>
        </p:nvSpPr>
        <p:spPr>
          <a:xfrm rot="10800000" flipV="1">
            <a:off x="4716016" y="3428999"/>
            <a:ext cx="1872208" cy="1080120"/>
          </a:xfrm>
          <a:prstGeom prst="curvedRightArrow">
            <a:avLst>
              <a:gd name="adj1" fmla="val 25000"/>
              <a:gd name="adj2" fmla="val 50000"/>
              <a:gd name="adj3" fmla="val 26809"/>
            </a:avLst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7307807" y="2428801"/>
            <a:ext cx="100860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Qeveritë</a:t>
            </a:r>
            <a:endParaRPr lang="sq-AL" sz="1000" b="1" dirty="0"/>
          </a:p>
        </p:txBody>
      </p:sp>
      <p:sp>
        <p:nvSpPr>
          <p:cNvPr id="25" name="Textfeld 24"/>
          <p:cNvSpPr txBox="1"/>
          <p:nvPr/>
        </p:nvSpPr>
        <p:spPr>
          <a:xfrm>
            <a:off x="7092280" y="3432957"/>
            <a:ext cx="141417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Qytetarët/Klientët</a:t>
            </a:r>
            <a:endParaRPr lang="sq-AL" sz="1000" b="1" dirty="0"/>
          </a:p>
        </p:txBody>
      </p:sp>
      <p:sp>
        <p:nvSpPr>
          <p:cNvPr id="26" name="Textfeld 25"/>
          <p:cNvSpPr txBox="1"/>
          <p:nvPr/>
        </p:nvSpPr>
        <p:spPr>
          <a:xfrm>
            <a:off x="7168091" y="4478923"/>
            <a:ext cx="129234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Biznesi/Industria</a:t>
            </a:r>
            <a:endParaRPr lang="sq-AL" sz="1000" b="1" dirty="0"/>
          </a:p>
        </p:txBody>
      </p:sp>
      <p:sp>
        <p:nvSpPr>
          <p:cNvPr id="27" name="Textfeld 26"/>
          <p:cNvSpPr txBox="1"/>
          <p:nvPr/>
        </p:nvSpPr>
        <p:spPr>
          <a:xfrm>
            <a:off x="1041048" y="2390691"/>
            <a:ext cx="36260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Ajror</a:t>
            </a:r>
            <a:endParaRPr lang="sq-AL" sz="1000" b="1" dirty="0"/>
          </a:p>
        </p:txBody>
      </p:sp>
      <p:sp>
        <p:nvSpPr>
          <p:cNvPr id="28" name="Textfeld 27"/>
          <p:cNvSpPr txBox="1"/>
          <p:nvPr/>
        </p:nvSpPr>
        <p:spPr>
          <a:xfrm>
            <a:off x="992958" y="3212976"/>
            <a:ext cx="41069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Detar</a:t>
            </a:r>
            <a:endParaRPr lang="sq-AL" sz="1000" b="1" dirty="0"/>
          </a:p>
        </p:txBody>
      </p:sp>
      <p:sp>
        <p:nvSpPr>
          <p:cNvPr id="29" name="Textfeld 28"/>
          <p:cNvSpPr txBox="1"/>
          <p:nvPr/>
        </p:nvSpPr>
        <p:spPr>
          <a:xfrm>
            <a:off x="971600" y="3902859"/>
            <a:ext cx="5052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Rrugor</a:t>
            </a:r>
            <a:endParaRPr lang="sq-AL" sz="1000" b="1" dirty="0"/>
          </a:p>
        </p:txBody>
      </p:sp>
      <p:sp>
        <p:nvSpPr>
          <p:cNvPr id="30" name="Textfeld 29"/>
          <p:cNvSpPr txBox="1"/>
          <p:nvPr/>
        </p:nvSpPr>
        <p:spPr>
          <a:xfrm>
            <a:off x="971600" y="4694947"/>
            <a:ext cx="41870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Hekurudhor</a:t>
            </a:r>
            <a:endParaRPr lang="sq-AL" sz="1000" b="1" dirty="0"/>
          </a:p>
        </p:txBody>
      </p:sp>
      <p:cxnSp>
        <p:nvCxnSpPr>
          <p:cNvPr id="34" name="Gerade Verbindung 33"/>
          <p:cNvCxnSpPr/>
          <p:nvPr/>
        </p:nvCxnSpPr>
        <p:spPr>
          <a:xfrm>
            <a:off x="4572000" y="2132856"/>
            <a:ext cx="0" cy="3600400"/>
          </a:xfrm>
          <a:prstGeom prst="line">
            <a:avLst/>
          </a:prstGeom>
          <a:ln>
            <a:prstDash val="dash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35" name="Textfeld 34"/>
          <p:cNvSpPr txBox="1"/>
          <p:nvPr/>
        </p:nvSpPr>
        <p:spPr>
          <a:xfrm>
            <a:off x="4306034" y="2007523"/>
            <a:ext cx="553998" cy="1565493"/>
          </a:xfrm>
          <a:prstGeom prst="rect">
            <a:avLst/>
          </a:prstGeom>
          <a:noFill/>
        </p:spPr>
        <p:txBody>
          <a:bodyPr vert="vert" wrap="none" rtlCol="0">
            <a:spAutoFit/>
          </a:bodyPr>
          <a:lstStyle/>
          <a:p>
            <a:r>
              <a:rPr lang="en-US" sz="2400" b="1" dirty="0" smtClean="0"/>
              <a:t>Zhdoganimi</a:t>
            </a:r>
            <a:endParaRPr lang="sq-AL" sz="2400" b="1" dirty="0"/>
          </a:p>
        </p:txBody>
      </p:sp>
      <p:sp>
        <p:nvSpPr>
          <p:cNvPr id="36" name="Textfeld 35"/>
          <p:cNvSpPr txBox="1"/>
          <p:nvPr/>
        </p:nvSpPr>
        <p:spPr>
          <a:xfrm>
            <a:off x="2483768" y="4437112"/>
            <a:ext cx="42484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/>
              <a:t>Menaxhimi ndërkufitar</a:t>
            </a:r>
            <a:endParaRPr lang="sq-AL" sz="2400" b="1" dirty="0"/>
          </a:p>
        </p:txBody>
      </p:sp>
      <p:sp>
        <p:nvSpPr>
          <p:cNvPr id="39" name="Textfeld 38"/>
          <p:cNvSpPr txBox="1"/>
          <p:nvPr/>
        </p:nvSpPr>
        <p:spPr>
          <a:xfrm rot="294224">
            <a:off x="3287010" y="3995000"/>
            <a:ext cx="8386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dirty="0" smtClean="0"/>
              <a:t>Importi</a:t>
            </a:r>
            <a:endParaRPr lang="sq-AL" dirty="0"/>
          </a:p>
        </p:txBody>
      </p:sp>
      <p:sp>
        <p:nvSpPr>
          <p:cNvPr id="40" name="Textfeld 39"/>
          <p:cNvSpPr txBox="1"/>
          <p:nvPr/>
        </p:nvSpPr>
        <p:spPr>
          <a:xfrm rot="21332590">
            <a:off x="4946946" y="4042672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dirty="0" smtClean="0"/>
              <a:t>Eksporti</a:t>
            </a:r>
            <a:endParaRPr lang="sq-AL" dirty="0"/>
          </a:p>
        </p:txBody>
      </p:sp>
      <p:sp>
        <p:nvSpPr>
          <p:cNvPr id="41" name="Textfeld 40"/>
          <p:cNvSpPr txBox="1"/>
          <p:nvPr/>
        </p:nvSpPr>
        <p:spPr>
          <a:xfrm rot="1232211">
            <a:off x="5912233" y="3570026"/>
            <a:ext cx="7246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Transiti</a:t>
            </a:r>
            <a:endParaRPr lang="sq-AL" dirty="0"/>
          </a:p>
        </p:txBody>
      </p:sp>
      <p:sp>
        <p:nvSpPr>
          <p:cNvPr id="42" name="Textfeld 41"/>
          <p:cNvSpPr txBox="1"/>
          <p:nvPr/>
        </p:nvSpPr>
        <p:spPr>
          <a:xfrm>
            <a:off x="467544" y="1916832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Mënyrat e transportit</a:t>
            </a:r>
            <a:endParaRPr lang="sq-AL" sz="1200" b="1" dirty="0"/>
          </a:p>
        </p:txBody>
      </p:sp>
      <p:sp>
        <p:nvSpPr>
          <p:cNvPr id="43" name="Textfeld 42"/>
          <p:cNvSpPr txBox="1"/>
          <p:nvPr/>
        </p:nvSpPr>
        <p:spPr>
          <a:xfrm>
            <a:off x="7238750" y="1916832"/>
            <a:ext cx="11496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Grupet e interesit</a:t>
            </a:r>
            <a:endParaRPr lang="sq-AL" sz="1200" b="1" dirty="0"/>
          </a:p>
        </p:txBody>
      </p:sp>
      <p:sp>
        <p:nvSpPr>
          <p:cNvPr id="44" name="Textfeld 43"/>
          <p:cNvSpPr txBox="1"/>
          <p:nvPr/>
        </p:nvSpPr>
        <p:spPr>
          <a:xfrm>
            <a:off x="3032893" y="1537047"/>
            <a:ext cx="3150221" cy="30777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b="1" dirty="0" smtClean="0"/>
              <a:t>Qëllimi i menaxhimit ndërkufitar dhe fusha e veprimit të doganave </a:t>
            </a:r>
            <a:endParaRPr lang="sq-AL" sz="1400" b="1" dirty="0"/>
          </a:p>
        </p:txBody>
      </p:sp>
      <p:sp>
        <p:nvSpPr>
          <p:cNvPr id="51" name="Textfeld 50"/>
          <p:cNvSpPr txBox="1"/>
          <p:nvPr/>
        </p:nvSpPr>
        <p:spPr>
          <a:xfrm>
            <a:off x="3576469" y="3356992"/>
            <a:ext cx="9252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sz="1600" dirty="0" smtClean="0"/>
              <a:t>Eksporti</a:t>
            </a:r>
            <a:endParaRPr lang="sq-AL" sz="1600" dirty="0"/>
          </a:p>
        </p:txBody>
      </p:sp>
      <p:sp>
        <p:nvSpPr>
          <p:cNvPr id="52" name="Textfeld 51"/>
          <p:cNvSpPr txBox="1"/>
          <p:nvPr/>
        </p:nvSpPr>
        <p:spPr>
          <a:xfrm>
            <a:off x="4716016" y="3392161"/>
            <a:ext cx="8386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dirty="0" smtClean="0"/>
              <a:t>Importi</a:t>
            </a:r>
            <a:endParaRPr lang="sq-AL" dirty="0"/>
          </a:p>
        </p:txBody>
      </p:sp>
      <p:sp>
        <p:nvSpPr>
          <p:cNvPr id="53" name="Textfeld 52"/>
          <p:cNvSpPr txBox="1"/>
          <p:nvPr/>
        </p:nvSpPr>
        <p:spPr>
          <a:xfrm rot="20485085">
            <a:off x="2521083" y="3552246"/>
            <a:ext cx="7246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Transiti</a:t>
            </a:r>
            <a:endParaRPr lang="sq-AL" dirty="0"/>
          </a:p>
        </p:txBody>
      </p:sp>
      <p:sp>
        <p:nvSpPr>
          <p:cNvPr id="59" name="Textfeld 58"/>
          <p:cNvSpPr txBox="1"/>
          <p:nvPr/>
        </p:nvSpPr>
        <p:spPr>
          <a:xfrm>
            <a:off x="3851920" y="3645024"/>
            <a:ext cx="139974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 smtClean="0"/>
              <a:t>Siguria</a:t>
            </a:r>
            <a:endParaRPr lang="sq-AL" sz="24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Sottotitolo 8"/>
          <p:cNvSpPr>
            <a:spLocks noGrp="1"/>
          </p:cNvSpPr>
          <p:nvPr>
            <p:ph type="subTitle" idx="1"/>
          </p:nvPr>
        </p:nvSpPr>
        <p:spPr>
          <a:xfrm>
            <a:off x="683568" y="1844824"/>
            <a:ext cx="7704856" cy="2664296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sz="4400" b="1" dirty="0" smtClean="0"/>
              <a:t>2. Matja e ndikimit të 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sz="4400" b="1" dirty="0" smtClean="0"/>
              <a:t>masave për LT</a:t>
            </a:r>
            <a:endParaRPr lang="sq-AL" sz="4400" b="1" dirty="0">
              <a:ea typeface="+mj-ea"/>
              <a:cs typeface="+mj-cs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033696B-4224-4D74-92D2-B2221F4E303A}" type="slidenum">
              <a:rPr lang="it-IT"/>
              <a:pPr>
                <a:defRPr/>
              </a:pPr>
              <a:t>6</a:t>
            </a:fld>
            <a:endParaRPr lang="sq-AL"/>
          </a:p>
        </p:txBody>
      </p:sp>
    </p:spTree>
    <p:extLst>
      <p:ext uri="{BB962C8B-B14F-4D97-AF65-F5344CB8AC3E}">
        <p14:creationId xmlns:p14="http://schemas.microsoft.com/office/powerpoint/2010/main" val="631548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llipse 12"/>
          <p:cNvSpPr/>
          <p:nvPr/>
        </p:nvSpPr>
        <p:spPr>
          <a:xfrm>
            <a:off x="4427984" y="3140968"/>
            <a:ext cx="432048" cy="36004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400" dirty="0" smtClean="0">
                <a:solidFill>
                  <a:schemeClr val="tx2"/>
                </a:solidFill>
              </a:rPr>
              <a:t>+</a:t>
            </a:r>
            <a:endParaRPr lang="sq-AL" sz="4400" dirty="0">
              <a:solidFill>
                <a:schemeClr val="tx2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825624" y="1556792"/>
            <a:ext cx="7488832" cy="151216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dirty="0" smtClean="0"/>
              <a:t>Masat janë përzgjedhur në përputhje me parimet e LT...</a:t>
            </a:r>
            <a:endParaRPr lang="sq-AL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87288" y="1629023"/>
            <a:ext cx="3538736" cy="1223913"/>
          </a:xfrm>
        </p:spPr>
        <p:txBody>
          <a:bodyPr/>
          <a:lstStyle/>
          <a:p>
            <a:r>
              <a:rPr dirty="0" smtClean="0"/>
              <a:t>Efikasiteti</a:t>
            </a:r>
          </a:p>
          <a:p>
            <a:r>
              <a:rPr dirty="0" smtClean="0"/>
              <a:t>Efiçenca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42D9F6-4E0E-41D8-BC1F-BF1CE87366CF}" type="slidenum">
              <a:rPr lang="it-IT" smtClean="0"/>
              <a:pPr>
                <a:defRPr/>
              </a:pPr>
              <a:t>7</a:t>
            </a:fld>
            <a:endParaRPr lang="sq-AL"/>
          </a:p>
        </p:txBody>
      </p:sp>
      <p:sp>
        <p:nvSpPr>
          <p:cNvPr id="5" name="Titel 1"/>
          <p:cNvSpPr txBox="1">
            <a:spLocks/>
          </p:cNvSpPr>
          <p:nvPr/>
        </p:nvSpPr>
        <p:spPr>
          <a:xfrm>
            <a:off x="467544" y="5805065"/>
            <a:ext cx="8229600" cy="5762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F7F7F"/>
                </a:solidFill>
                <a:effectLst>
                  <a:innerShdw blurRad="63500" dist="50800" dir="16200000">
                    <a:prstClr val="black">
                      <a:alpha val="50000"/>
                    </a:prstClr>
                  </a:innerShdw>
                </a:effectLst>
                <a:uLnTx/>
                <a:uFillTx/>
                <a:latin typeface="+mn-lt"/>
              </a:rPr>
              <a:t>… dhe ndikimet më të mëdha në flukset dhe kostot tregtare</a:t>
            </a:r>
            <a:endParaRPr kumimoji="0" lang="sq-AL" sz="2000" b="1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>
                <a:innerShdw blurRad="63500" dist="50800" dir="16200000">
                  <a:prstClr val="black">
                    <a:alpha val="50000"/>
                  </a:prstClr>
                </a:innerShdw>
              </a:effectLst>
              <a:uLnTx/>
              <a:uFillTx/>
              <a:latin typeface="+mn-lt"/>
              <a:ea typeface="+mj-ea"/>
              <a:cs typeface="+mj-cs"/>
            </a:endParaRPr>
          </a:p>
        </p:txBody>
      </p:sp>
      <p:graphicFrame>
        <p:nvGraphicFramePr>
          <p:cNvPr id="6" name="Group 3"/>
          <p:cNvGraphicFramePr>
            <a:graphicFrameLocks noGrp="1"/>
          </p:cNvGraphicFramePr>
          <p:nvPr/>
        </p:nvGraphicFramePr>
        <p:xfrm>
          <a:off x="539552" y="3907928"/>
          <a:ext cx="7920880" cy="1877904"/>
        </p:xfrm>
        <a:graphic>
          <a:graphicData uri="http://schemas.openxmlformats.org/drawingml/2006/table">
            <a:tbl>
              <a:tblPr/>
              <a:tblGrid>
                <a:gridCol w="360040"/>
                <a:gridCol w="3600400"/>
                <a:gridCol w="360040"/>
                <a:gridCol w="3600400"/>
              </a:tblGrid>
              <a:tr h="138805"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Ndikimet më të mëdha në fluksin tregtar</a:t>
                      </a:r>
                    </a:p>
                  </a:txBody>
                  <a:tcPr marL="36576" marR="36576" marT="36576" marB="3657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36576" marR="36576" marT="36576" marB="3657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Ndikimet më të mëdha në koston tregtare</a:t>
                      </a:r>
                    </a:p>
                  </a:txBody>
                  <a:tcPr marL="36576" marR="36576" marT="36576" marB="3657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36576" marR="36576" marT="36576" marB="3657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hlink"/>
                    </a:solidFill>
                  </a:tcPr>
                </a:tc>
              </a:tr>
              <a:tr h="13880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#</a:t>
                      </a:r>
                    </a:p>
                  </a:txBody>
                  <a:tcPr marL="36576" marR="36576" marT="36576" marB="3657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asa për LT</a:t>
                      </a:r>
                    </a:p>
                  </a:txBody>
                  <a:tcPr marL="36576" marR="36576" marT="36576" marB="3657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#</a:t>
                      </a:r>
                    </a:p>
                  </a:txBody>
                  <a:tcPr marL="36576" marR="36576" marT="36576" marB="3657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asa për LT</a:t>
                      </a:r>
                    </a:p>
                  </a:txBody>
                  <a:tcPr marL="36576" marR="36576" marT="36576" marB="36576" anchor="ctr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147409">
                <a:tc>
                  <a:txBody>
                    <a:bodyPr/>
                    <a:lstStyle/>
                    <a:p>
                      <a:pPr marL="228600" marR="0" lvl="0" indent="-2286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.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Vendime paraprake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.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rocedura të harmonizuara (5,4%)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47409">
                <a:tc>
                  <a:txBody>
                    <a:bodyPr/>
                    <a:lstStyle/>
                    <a:p>
                      <a:pPr marL="228600" marR="0" lvl="0" indent="-2286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.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isponueshmëri informacioni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.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Vendime paraprake (3,7%)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47409">
                <a:tc>
                  <a:txBody>
                    <a:bodyPr/>
                    <a:lstStyle/>
                    <a:p>
                      <a:pPr marL="228600" marR="0" lvl="0" indent="-2286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.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ifa dhe pagesa të harmonizuara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.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utomatizim (2,7%)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47409">
                <a:tc>
                  <a:txBody>
                    <a:bodyPr/>
                    <a:lstStyle/>
                    <a:p>
                      <a:pPr marL="228600" marR="0" lvl="0" indent="-2286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.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hjeshtësim dhe harmonizim i dokumenteve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.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rifa dhe pagesa të harmonizuara (1,7%)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47409">
                <a:tc>
                  <a:txBody>
                    <a:bodyPr/>
                    <a:lstStyle/>
                    <a:p>
                      <a:pPr marL="228600" marR="0" lvl="0" indent="-2286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5.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Bashkëpunim i brendshëm dhe i jashtëm mes agjencive kufitare</a:t>
                      </a: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+mj-lt"/>
                        <a:buNone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00" marR="18000" marT="36000" marB="36000" horzOverflow="overflow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" name="Textfeld 6"/>
          <p:cNvSpPr txBox="1"/>
          <p:nvPr/>
        </p:nvSpPr>
        <p:spPr>
          <a:xfrm>
            <a:off x="2627784" y="3573016"/>
            <a:ext cx="3347391" cy="21544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800" b="1" dirty="0" smtClean="0"/>
              <a:t>Treguesit për lehtësimin e tregtisë: Ndikimi në kostot e tregtimit</a:t>
            </a:r>
            <a:r>
              <a:rPr lang="en-US" sz="800" b="1" baseline="30000" dirty="0" smtClean="0"/>
              <a:t>1</a:t>
            </a:r>
            <a:endParaRPr lang="sq-AL" sz="800" b="1" dirty="0"/>
          </a:p>
        </p:txBody>
      </p:sp>
      <p:sp>
        <p:nvSpPr>
          <p:cNvPr id="8" name="Textfeld 7"/>
          <p:cNvSpPr txBox="1"/>
          <p:nvPr/>
        </p:nvSpPr>
        <p:spPr>
          <a:xfrm>
            <a:off x="539552" y="6309320"/>
            <a:ext cx="8280920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800" baseline="30000" dirty="0" smtClean="0"/>
              <a:t>1</a:t>
            </a:r>
            <a:r>
              <a:rPr lang="en-US" sz="800" dirty="0" smtClean="0"/>
              <a:t> - Dokumenti për Politikat e Tregtisë i OECD-së nr. 118, 2011</a:t>
            </a:r>
            <a:endParaRPr lang="sq-AL" sz="800" baseline="30000" dirty="0"/>
          </a:p>
        </p:txBody>
      </p:sp>
      <p:sp>
        <p:nvSpPr>
          <p:cNvPr id="9" name="Inhaltsplatzhalter 2"/>
          <p:cNvSpPr txBox="1">
            <a:spLocks/>
          </p:cNvSpPr>
          <p:nvPr/>
        </p:nvSpPr>
        <p:spPr bwMode="auto">
          <a:xfrm>
            <a:off x="5290120" y="1629023"/>
            <a:ext cx="3314328" cy="143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7375E"/>
                </a:solidFill>
                <a:effectLst/>
                <a:uLnTx/>
                <a:uFillTx/>
                <a:latin typeface="+mn-lt"/>
              </a:rPr>
              <a:t>Transparenca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7375E"/>
                </a:solidFill>
                <a:effectLst/>
                <a:uLnTx/>
                <a:uFillTx/>
                <a:latin typeface="+mn-lt"/>
              </a:rPr>
              <a:t>Parashikueshmëria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SzTx/>
              <a:buFont typeface="Arial" charset="0"/>
              <a:buChar char="•"/>
              <a:tabLst/>
              <a:defRPr/>
            </a:pPr>
            <a:r>
              <a:rPr kumimoji="0" lang="en-US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7375E"/>
                </a:solidFill>
                <a:effectLst/>
                <a:uLnTx/>
                <a:uFillTx/>
                <a:latin typeface="+mn-lt"/>
              </a:rPr>
              <a:t>Konsistenca</a:t>
            </a:r>
            <a:endParaRPr kumimoji="0" lang="sq-AL" sz="2200" b="1" i="0" u="none" strike="noStrike" kern="1200" cap="none" spc="0" normalizeH="0" baseline="0" noProof="0" dirty="0">
              <a:ln>
                <a:noFill/>
              </a:ln>
              <a:solidFill>
                <a:srgbClr val="17375E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3486769" y="1196752"/>
            <a:ext cx="2156360" cy="24622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</a:rPr>
              <a:t>Parimet për lehtësimin e tregtisë</a:t>
            </a:r>
            <a:endParaRPr lang="sq-AL" sz="100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 smtClean="0"/>
              <a:t>... për të siguruar baraspeshën me kontrollin doganor</a:t>
            </a:r>
            <a:endParaRPr lang="sq-AL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42D9F6-4E0E-41D8-BC1F-BF1CE87366CF}" type="slidenum">
              <a:rPr lang="it-IT" smtClean="0"/>
              <a:pPr>
                <a:defRPr/>
              </a:pPr>
              <a:t>8</a:t>
            </a:fld>
            <a:endParaRPr lang="sq-AL"/>
          </a:p>
        </p:txBody>
      </p:sp>
      <p:grpSp>
        <p:nvGrpSpPr>
          <p:cNvPr id="5" name="Group 3"/>
          <p:cNvGrpSpPr>
            <a:grpSpLocks noGrp="1"/>
          </p:cNvGrpSpPr>
          <p:nvPr>
            <p:custDataLst>
              <p:tags r:id="rId1"/>
            </p:custDataLst>
          </p:nvPr>
        </p:nvGrpSpPr>
        <p:grpSpPr bwMode="auto">
          <a:xfrm>
            <a:off x="611560" y="2708920"/>
            <a:ext cx="8085584" cy="2535255"/>
            <a:chOff x="399" y="1389"/>
            <a:chExt cx="3360" cy="972"/>
          </a:xfrm>
        </p:grpSpPr>
        <p:sp>
          <p:nvSpPr>
            <p:cNvPr id="6" name="Freeform 4"/>
            <p:cNvSpPr>
              <a:spLocks/>
            </p:cNvSpPr>
            <p:nvPr/>
          </p:nvSpPr>
          <p:spPr bwMode="gray">
            <a:xfrm>
              <a:off x="910" y="1717"/>
              <a:ext cx="2339" cy="28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8" y="158"/>
                </a:cxn>
                <a:cxn ang="0">
                  <a:pos x="630" y="158"/>
                </a:cxn>
                <a:cxn ang="0">
                  <a:pos x="1181" y="315"/>
                </a:cxn>
                <a:cxn ang="0">
                  <a:pos x="1339" y="315"/>
                </a:cxn>
                <a:cxn ang="0">
                  <a:pos x="1890" y="158"/>
                </a:cxn>
                <a:cxn ang="0">
                  <a:pos x="2363" y="158"/>
                </a:cxn>
                <a:cxn ang="0">
                  <a:pos x="2520" y="0"/>
                </a:cxn>
              </a:cxnLst>
              <a:rect l="0" t="0" r="r" b="b"/>
              <a:pathLst>
                <a:path w="2521" h="316">
                  <a:moveTo>
                    <a:pt x="0" y="0"/>
                  </a:moveTo>
                  <a:lnTo>
                    <a:pt x="158" y="158"/>
                  </a:lnTo>
                  <a:lnTo>
                    <a:pt x="630" y="158"/>
                  </a:lnTo>
                  <a:lnTo>
                    <a:pt x="1181" y="315"/>
                  </a:lnTo>
                  <a:lnTo>
                    <a:pt x="1339" y="315"/>
                  </a:lnTo>
                  <a:lnTo>
                    <a:pt x="1890" y="158"/>
                  </a:lnTo>
                  <a:lnTo>
                    <a:pt x="2363" y="158"/>
                  </a:lnTo>
                  <a:lnTo>
                    <a:pt x="2520" y="0"/>
                  </a:lnTo>
                </a:path>
              </a:pathLst>
            </a:custGeom>
            <a:noFill/>
            <a:ln w="63500" cap="flat">
              <a:solidFill>
                <a:srgbClr val="696969"/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7" name="Line 5"/>
            <p:cNvSpPr>
              <a:spLocks noChangeShapeType="1"/>
            </p:cNvSpPr>
            <p:nvPr/>
          </p:nvSpPr>
          <p:spPr bwMode="gray">
            <a:xfrm>
              <a:off x="1558" y="1643"/>
              <a:ext cx="0" cy="40"/>
            </a:xfrm>
            <a:prstGeom prst="line">
              <a:avLst/>
            </a:prstGeom>
            <a:noFill/>
            <a:ln w="38100">
              <a:solidFill>
                <a:srgbClr val="666666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8" name="AutoShape 6"/>
            <p:cNvSpPr>
              <a:spLocks noChangeArrowheads="1"/>
            </p:cNvSpPr>
            <p:nvPr/>
          </p:nvSpPr>
          <p:spPr bwMode="gray">
            <a:xfrm>
              <a:off x="799" y="1645"/>
              <a:ext cx="364" cy="143"/>
            </a:xfrm>
            <a:prstGeom prst="roundRect">
              <a:avLst>
                <a:gd name="adj" fmla="val 50000"/>
              </a:avLst>
            </a:prstGeom>
            <a:solidFill>
              <a:srgbClr val="696969"/>
            </a:solidFill>
            <a:ln w="6350">
              <a:solidFill>
                <a:srgbClr val="888888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9" name="Line 7"/>
            <p:cNvSpPr>
              <a:spLocks noChangeShapeType="1"/>
            </p:cNvSpPr>
            <p:nvPr/>
          </p:nvSpPr>
          <p:spPr bwMode="gray">
            <a:xfrm>
              <a:off x="409" y="1645"/>
              <a:ext cx="0" cy="40"/>
            </a:xfrm>
            <a:prstGeom prst="line">
              <a:avLst/>
            </a:prstGeom>
            <a:noFill/>
            <a:ln w="38100">
              <a:solidFill>
                <a:srgbClr val="666666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0" name="Oval 8"/>
            <p:cNvSpPr>
              <a:spLocks noChangeArrowheads="1"/>
            </p:cNvSpPr>
            <p:nvPr/>
          </p:nvSpPr>
          <p:spPr bwMode="gray">
            <a:xfrm>
              <a:off x="399" y="1574"/>
              <a:ext cx="1169" cy="143"/>
            </a:xfrm>
            <a:prstGeom prst="ellipse">
              <a:avLst/>
            </a:prstGeom>
            <a:solidFill>
              <a:srgbClr val="DCDCDC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57150" dir="5400000" algn="ctr" rotWithShape="0">
                <a:srgbClr val="696969"/>
              </a:outerShdw>
            </a:effec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1" name="Line 9"/>
            <p:cNvSpPr>
              <a:spLocks noChangeShapeType="1"/>
            </p:cNvSpPr>
            <p:nvPr/>
          </p:nvSpPr>
          <p:spPr bwMode="gray">
            <a:xfrm>
              <a:off x="3749" y="1643"/>
              <a:ext cx="0" cy="40"/>
            </a:xfrm>
            <a:prstGeom prst="line">
              <a:avLst/>
            </a:prstGeom>
            <a:noFill/>
            <a:ln w="38100">
              <a:solidFill>
                <a:srgbClr val="666666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2" name="AutoShape 10"/>
            <p:cNvSpPr>
              <a:spLocks noChangeArrowheads="1"/>
            </p:cNvSpPr>
            <p:nvPr/>
          </p:nvSpPr>
          <p:spPr bwMode="gray">
            <a:xfrm>
              <a:off x="2990" y="1645"/>
              <a:ext cx="365" cy="143"/>
            </a:xfrm>
            <a:prstGeom prst="roundRect">
              <a:avLst>
                <a:gd name="adj" fmla="val 50000"/>
              </a:avLst>
            </a:prstGeom>
            <a:solidFill>
              <a:srgbClr val="696969"/>
            </a:solidFill>
            <a:ln w="6350">
              <a:solidFill>
                <a:srgbClr val="888888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3" name="Line 11"/>
            <p:cNvSpPr>
              <a:spLocks noChangeShapeType="1"/>
            </p:cNvSpPr>
            <p:nvPr/>
          </p:nvSpPr>
          <p:spPr bwMode="gray">
            <a:xfrm>
              <a:off x="2600" y="1645"/>
              <a:ext cx="0" cy="40"/>
            </a:xfrm>
            <a:prstGeom prst="line">
              <a:avLst/>
            </a:prstGeom>
            <a:noFill/>
            <a:ln w="38100">
              <a:solidFill>
                <a:srgbClr val="666666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4" name="Oval 12"/>
            <p:cNvSpPr>
              <a:spLocks noChangeArrowheads="1"/>
            </p:cNvSpPr>
            <p:nvPr/>
          </p:nvSpPr>
          <p:spPr bwMode="gray">
            <a:xfrm>
              <a:off x="2590" y="1574"/>
              <a:ext cx="1169" cy="143"/>
            </a:xfrm>
            <a:prstGeom prst="ellipse">
              <a:avLst/>
            </a:prstGeom>
            <a:solidFill>
              <a:srgbClr val="DCDCDC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dist="57150" dir="5400000" algn="ctr" rotWithShape="0">
                <a:srgbClr val="696969"/>
              </a:outerShdw>
            </a:effec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gray">
            <a:xfrm>
              <a:off x="1787" y="1788"/>
              <a:ext cx="585" cy="573"/>
            </a:xfrm>
            <a:custGeom>
              <a:avLst/>
              <a:gdLst/>
              <a:ahLst/>
              <a:cxnLst>
                <a:cxn ang="0">
                  <a:pos x="0" y="630"/>
                </a:cxn>
                <a:cxn ang="0">
                  <a:pos x="79" y="0"/>
                </a:cxn>
                <a:cxn ang="0">
                  <a:pos x="551" y="0"/>
                </a:cxn>
                <a:cxn ang="0">
                  <a:pos x="630" y="630"/>
                </a:cxn>
                <a:cxn ang="0">
                  <a:pos x="0" y="630"/>
                </a:cxn>
              </a:cxnLst>
              <a:rect l="0" t="0" r="r" b="b"/>
              <a:pathLst>
                <a:path w="631" h="631">
                  <a:moveTo>
                    <a:pt x="0" y="630"/>
                  </a:moveTo>
                  <a:lnTo>
                    <a:pt x="79" y="0"/>
                  </a:lnTo>
                  <a:lnTo>
                    <a:pt x="551" y="0"/>
                  </a:lnTo>
                  <a:lnTo>
                    <a:pt x="630" y="630"/>
                  </a:lnTo>
                  <a:lnTo>
                    <a:pt x="0" y="630"/>
                  </a:lnTo>
                  <a:close/>
                </a:path>
              </a:pathLst>
            </a:custGeom>
            <a:solidFill>
              <a:srgbClr val="DCDCDC"/>
            </a:solidFill>
            <a:ln w="9525" cap="flat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6" name="Arc 14" descr="Light vertical"/>
            <p:cNvSpPr>
              <a:spLocks/>
            </p:cNvSpPr>
            <p:nvPr/>
          </p:nvSpPr>
          <p:spPr bwMode="gray">
            <a:xfrm>
              <a:off x="1860" y="1860"/>
              <a:ext cx="439" cy="143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0 w 43200"/>
                <a:gd name="T1" fmla="*/ 21600 h 21600"/>
                <a:gd name="T2" fmla="*/ 43200 w 43200"/>
                <a:gd name="T3" fmla="*/ 21600 h 21600"/>
                <a:gd name="T4" fmla="*/ 21600 w 432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21600" fill="none" extrusionOk="0">
                  <a:moveTo>
                    <a:pt x="0" y="21600"/>
                  </a:move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</a:path>
                <a:path w="43200" h="21600" stroke="0" extrusionOk="0">
                  <a:moveTo>
                    <a:pt x="0" y="21600"/>
                  </a:move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lnTo>
                    <a:pt x="21600" y="21600"/>
                  </a:lnTo>
                  <a:close/>
                </a:path>
              </a:pathLst>
            </a:custGeom>
            <a:pattFill prst="ltVert">
              <a:fgClr>
                <a:srgbClr val="000000"/>
              </a:fgClr>
              <a:bgClr>
                <a:schemeClr val="bg1"/>
              </a:bgClr>
            </a:pattFill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sq-AL" dirty="0"/>
            </a:p>
          </p:txBody>
        </p:sp>
        <p:sp>
          <p:nvSpPr>
            <p:cNvPr id="17" name="Arc 15"/>
            <p:cNvSpPr>
              <a:spLocks/>
            </p:cNvSpPr>
            <p:nvPr/>
          </p:nvSpPr>
          <p:spPr bwMode="gray">
            <a:xfrm>
              <a:off x="1860" y="1931"/>
              <a:ext cx="439" cy="143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0 w 43200"/>
                <a:gd name="T1" fmla="*/ 21600 h 21600"/>
                <a:gd name="T2" fmla="*/ 43200 w 43200"/>
                <a:gd name="T3" fmla="*/ 21600 h 21600"/>
                <a:gd name="T4" fmla="*/ 21600 w 432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21600" fill="none" extrusionOk="0">
                  <a:moveTo>
                    <a:pt x="0" y="21600"/>
                  </a:move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</a:path>
                <a:path w="43200" h="21600" stroke="0" extrusionOk="0">
                  <a:moveTo>
                    <a:pt x="0" y="21600"/>
                  </a:move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DCDCDC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8" name="Rectangle 16"/>
            <p:cNvSpPr>
              <a:spLocks noChangeArrowheads="1"/>
            </p:cNvSpPr>
            <p:nvPr/>
          </p:nvSpPr>
          <p:spPr bwMode="gray">
            <a:xfrm>
              <a:off x="1852" y="1927"/>
              <a:ext cx="28" cy="165"/>
            </a:xfrm>
            <a:prstGeom prst="rect">
              <a:avLst/>
            </a:prstGeom>
            <a:solidFill>
              <a:srgbClr val="DCDCD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19" name="Rectangle 17"/>
            <p:cNvSpPr>
              <a:spLocks noChangeArrowheads="1"/>
            </p:cNvSpPr>
            <p:nvPr/>
          </p:nvSpPr>
          <p:spPr bwMode="gray">
            <a:xfrm>
              <a:off x="2285" y="1927"/>
              <a:ext cx="19" cy="165"/>
            </a:xfrm>
            <a:prstGeom prst="rect">
              <a:avLst/>
            </a:prstGeom>
            <a:solidFill>
              <a:srgbClr val="DCDCDC"/>
            </a:solidFill>
            <a:ln w="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20" name="AutoShape 18"/>
            <p:cNvSpPr>
              <a:spLocks noChangeArrowheads="1"/>
            </p:cNvSpPr>
            <p:nvPr/>
          </p:nvSpPr>
          <p:spPr bwMode="gray">
            <a:xfrm>
              <a:off x="2008" y="2021"/>
              <a:ext cx="146" cy="293"/>
            </a:xfrm>
            <a:prstGeom prst="upArrow">
              <a:avLst>
                <a:gd name="adj1" fmla="val 50000"/>
                <a:gd name="adj2" fmla="val 50171"/>
              </a:avLst>
            </a:prstGeom>
            <a:solidFill>
              <a:schemeClr val="tx2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21" name="Rectangle 19"/>
            <p:cNvSpPr>
              <a:spLocks noChangeArrowheads="1"/>
            </p:cNvSpPr>
            <p:nvPr/>
          </p:nvSpPr>
          <p:spPr bwMode="gray">
            <a:xfrm>
              <a:off x="829" y="1389"/>
              <a:ext cx="198" cy="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b"/>
            <a:lstStyle/>
            <a:p>
              <a:pPr algn="ctr" defTabSz="885825"/>
              <a:r>
                <a:rPr lang="en-GB" sz="3200" dirty="0" smtClean="0"/>
                <a:t>Kontrolli doganor</a:t>
              </a:r>
              <a:endParaRPr lang="sq-AL" sz="3200" dirty="0"/>
            </a:p>
          </p:txBody>
        </p:sp>
        <p:sp>
          <p:nvSpPr>
            <p:cNvPr id="22" name="Rectangle 20"/>
            <p:cNvSpPr>
              <a:spLocks noChangeArrowheads="1"/>
            </p:cNvSpPr>
            <p:nvPr/>
          </p:nvSpPr>
          <p:spPr bwMode="gray">
            <a:xfrm>
              <a:off x="3063" y="1395"/>
              <a:ext cx="198" cy="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b"/>
            <a:lstStyle/>
            <a:p>
              <a:pPr algn="ctr" defTabSz="885825"/>
              <a:r>
                <a:rPr lang="en-GB" sz="3200" dirty="0" smtClean="0"/>
                <a:t>Lehtësimi i tregtisë</a:t>
              </a:r>
              <a:endParaRPr lang="sq-AL" sz="3200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hlinkClick r:id="rId2"/>
              </a:rPr>
              <a:t>Raporti i Forumit Ekonomik Botëror për mundësimin e tregtisë, 2013</a:t>
            </a:r>
            <a:endParaRPr lang="sq-AL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42D9F6-4E0E-41D8-BC1F-BF1CE87366CF}" type="slidenum">
              <a:rPr lang="it-IT" smtClean="0"/>
              <a:pPr>
                <a:defRPr/>
              </a:pPr>
              <a:t>9</a:t>
            </a:fld>
            <a:endParaRPr lang="sq-AL"/>
          </a:p>
        </p:txBody>
      </p:sp>
      <p:pic>
        <p:nvPicPr>
          <p:cNvPr id="4301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46491" y="1628800"/>
            <a:ext cx="7397917" cy="4700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feld 5"/>
          <p:cNvSpPr txBox="1"/>
          <p:nvPr/>
        </p:nvSpPr>
        <p:spPr>
          <a:xfrm>
            <a:off x="3043714" y="1124744"/>
            <a:ext cx="26084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Pengesat në zinxhirin e furnizimit</a:t>
            </a:r>
            <a:endParaRPr lang="sq-AL" b="1" dirty="0"/>
          </a:p>
        </p:txBody>
      </p:sp>
      <p:sp>
        <p:nvSpPr>
          <p:cNvPr id="7" name="Textfeld 6"/>
          <p:cNvSpPr txBox="1"/>
          <p:nvPr/>
        </p:nvSpPr>
        <p:spPr>
          <a:xfrm>
            <a:off x="467544" y="6351131"/>
            <a:ext cx="219643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Burimi: WEF Enabling Trade, 2013</a:t>
            </a:r>
            <a:endParaRPr lang="sq-AL" sz="1000" dirty="0"/>
          </a:p>
        </p:txBody>
      </p:sp>
      <p:sp>
        <p:nvSpPr>
          <p:cNvPr id="8" name="Ellipse 7"/>
          <p:cNvSpPr/>
          <p:nvPr/>
        </p:nvSpPr>
        <p:spPr>
          <a:xfrm>
            <a:off x="2195736" y="2564904"/>
            <a:ext cx="4536504" cy="2304256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i="1" dirty="0" smtClean="0">
                <a:solidFill>
                  <a:schemeClr val="tx1"/>
                </a:solidFill>
              </a:rPr>
              <a:t>“…nëse të gjitha shtetet reduktojnë përgjysmë pengesat në zinxhirin e furnizimit krahasuar me praktikat më të mira botërore, </a:t>
            </a:r>
            <a:r>
              <a:rPr lang="en-US" sz="1200" b="1" i="1" dirty="0" smtClean="0">
                <a:solidFill>
                  <a:srgbClr val="C00000"/>
                </a:solidFill>
              </a:rPr>
              <a:t>PPB-ja botërore mund të rritet me 4,7% dhe tregtia në botë me 14,5%,</a:t>
            </a:r>
            <a:r>
              <a:rPr lang="en-US" sz="1200" i="1" dirty="0" smtClean="0">
                <a:solidFill>
                  <a:schemeClr val="tx1"/>
                </a:solidFill>
              </a:rPr>
              <a:t> duke tejkaluar disa herë përfitimet nga eliminimi i të gjitha tarifave të importit. Nëse bëjmë një krahasim, eliminimi i të gjitha tarifave mund të rrisë PPB-në botërore me 0,7% dhe tregtinë në botë me 10,1%" </a:t>
            </a:r>
            <a:r>
              <a:t/>
            </a:r>
            <a:br/>
            <a:endParaRPr lang="sq-AL" sz="1200" i="1" dirty="0" smtClean="0">
              <a:solidFill>
                <a:schemeClr val="tx1"/>
              </a:solidFill>
            </a:endParaRPr>
          </a:p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Deklarata për shtyp e Forumit Ekonomik Botëror, 23 janar 2013</a:t>
            </a:r>
            <a:endParaRPr lang="sq-AL" sz="12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2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1&quot;/&gt;&lt;m_eweekdayFirstOfWorkweek val=&quot;1&quot;/&gt;&lt;m_eweekdayFirstOfWeekend val=&quot;6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25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7xMOVIAEyF46JvvSuxC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kJHhx2Gk2VwqUnBlb1z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zxF.5U9EmZRuC._Ogyp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KPxIZNr06yq7e28zND6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jxPnrF_EyksyQRBumS_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PAv_PyP0enCscmU1YXK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Qkg30E5UCEYlpL1Mrlh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KTMp3CiU61BycKlb7VQ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rN8IDx7kSRH5AQP6FIm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Ua5R39pkazo9ilkjqd3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4zErysAEanh.q6zISV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d_UEK2dUyxe0bb5Yvw8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blSdDODUuxGx0eNq2L8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q0EyBS2kuWoKQwKIWzG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4_Wm63eUi6zZjM8fQMZ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2qDeZKhkyV7Hqn9f.RM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yb3XmXLEWlfApS1esor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9fFD9pBEuUt42t2H_fD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I0TyHKOkGsihX76W5nq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4NZjsjlekiwIByMN6kUv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xj_fbYFkSmfikbyiVxL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0JyVyoNpEqz7D3fphif2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4t_4gdI0OFtdHde9M3V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E9E.dnzE2yX2_o_I8f7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2vI._na0yKQzlfdSe0y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Eo24OkWUeRxszXbWPRY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pEyiv0y0GnZ75ckbXKE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SdN7aiNEKXQBUdWPGFY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TWCMglqkSdTusJH6r6W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QZGoAYo02XGV06ZJT8s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NlVEykkgU6a.Ft.UJOdt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8u2prxRECnFFmJjfSxw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pL3qRSy0Gmy2CL1Bbpq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02tDGjHUCsT7MM9Ip76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fXECpjtE2SE1xFSbpRw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dbfq3bOEqnUFFNs98zp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7FMwkeA0qXGjxOZ1GRZ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KGo.tYsUeKaYdHDsAEa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GiUZgC80qiAziyuMUsm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99STqKLketNRWGJJ.6h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eo7Ps2h0mviuQ4iPyx2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IDR4f9n0epq29gcGXUC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Iz73NV2ker1ujiw7vlN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qaQXPybEy0J8eNnLrpp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P2yxnev0uBga_F2X2vM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hPiduttUi0X24xYDdYd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gJcZcfI0GTr6vyefk7E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aCdu9oE0ygdfIiP_G3a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gJcZcfI0GTr6vyefk7E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aCdu9oE0ygdfIiP_G3a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gJcZcfI0GTr6vyefk7E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aCdu9oE0ygdfIiP_G3a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gJcZcfI0GTr6vyefk7E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QuUch84k2f.7pRrGi_o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aCdu9oE0ygdfIiP_G3a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gJcZcfI0GTr6vyefk7E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aCdu9oE0ygdfIiP_G3a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7ZrCB1a0SqaLLEFT9po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cvPSVP10GCqEsaUIfNo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T64s5iLU6r3l5qvLAF1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zNrG9zXUWaY4FTDiZ62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HwA1V.qEeePhSeiKdDd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V3JmRpKUS3rJlFsNZ_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WOURuQPEifb6XvLqS.s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UckYgD5kiAY0TNkC3_v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FqrlY5dkiDRRYe.xQV7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qzkDaqk6_59yNZPEYe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QNglPC9U6iydUyWmlVJ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MUP2KBRk2OY.T2lkqh1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UhvlEHjkSWN5J5J31al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HZOGW5D0G7FyaPdVcVA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8TChUmRk.dXp9ZVcYiE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j5DoALWkqBqIyaE.cDC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elSjnyiku6quBqcktsd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TYY5j7hkSV88CQIQgX8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cUb7z9NUuDvJHpjxm3.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WGAeeTtUq7m7oyscGK0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nJwjU7WkyH25MibqkTZ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4LEuONmEOQQL0rOnljs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tCbhzrV0m.VgDSrnusY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1HevFTY0uNZqavngn6T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FV2fo990GvctkUQkTC0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xWvIk77Um.GehEC_cE4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UylFtSeUKg7LAcydjX4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JlJfBbhkS46gcX3NNS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VEsi61cEeYkJSPvoaXt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ICZheBj0aUTS9ZJ6Y.R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Ho0okwL0CJ5HOjxA9pU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2ds1pLtU.xjfLqaMv6l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bOjbYSEUils_8q2G_FG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CtM9gRrEaMDUZ0Z5thM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_S6WB7jUOCzNdjn3.82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7zudzcLEC.tpLKiFpun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5S63B2l0C6DYPXWM0MM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GOWvnPAkaIaXXCp9DsM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xVj1gNmkCxN0xtM6keJ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yXGMVW_kWuTneoq1hcs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12QnTmKk.zU4S_bb9xs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3Ri5gS.kCioByE4bcxN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pDliSXvEOAOZto19Vqo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0O_ZYuC0etn5fNBPh0x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7Xs.52f0yZfQPnZxbi5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B4cAV01ESuMyl3dtQpz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n_u8MsqEOjzaTsoIC.s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BtdKU2dky.tQNDuycyU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quTnQFdkKN9jZSm_gya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aDzPHI4EuTfOoPc63ZS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thg5xbc0Kms.b5fKDRr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2gvOVPyEaX5DMtXnIg4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l0ch6s.UGpXKTY6wYuw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j_6.a.P0ehedPlTDZfC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dmvdyD.kO6iFwBgMHzc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Hoe1FlRkue4bHke5Jrh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3DPLwPbUy95q6t4B.zC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5i4M6T5USt.5JET2Crd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tIlyKFJEK_h1ytF1W1T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9Cba8wPkCVjWu1Fq38f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_eDx5cV0qJYBFDUbVC_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5iH4qNwkOOPHeEQYZlR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7m0SsMCUaDLcXQe_5Gc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5KVvAMO0CAs9li17euU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b_9zJkz0WdRPZFsyLD5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cJqMii0E6EGkK94J9XY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414qGCekCOKdsPiG705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2Emky7I02HsuIgf.K4B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cHqXsCUEqejhMMmJ__x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.pEFqMJ0iBXaOVxYKmt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Xcs8ewM0OceUrHtfmlq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Zh6aYX_0OFCFtmZzz5_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RMwVgyLkqWpPKXb1b5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9pw_J8wkyI5Ema5Gc6I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9wZKGdU0C3aDwKTWciP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dEtOiRnU.DjykxLFrJ8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nFItFy9Ee3XhqqEk3XI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FKoeUXUUihukJPAMF43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c_KCbJS0ejrCquoqi9Z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MqIPiJ.0.hp9NDBILzr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q4K.9uT0.ofui_g2UXn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oCz7hlbE6uc4f9vHiFR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O4QyUvrkWSQQ0RftYCo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4w1kn8GUO2lxXKQvPV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p55LkTn0KmmQ2fdiK6D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CvJWcbl0G5m_3jKn0Cy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XBO6yPkan0IyM1e6_U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uHoMd41Ei1gvaaE44Vs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CU6gsW0ESBa8GzrRiBA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M7xwye.0WchtjjgV695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wBd1zhBEGtYSTDnyCNN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nuvp1SrEKzquUa_ClAJ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cPYdQjO06cO3VBqVBjc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HXF5CdxU2GKrBdYEHc0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hNt_j0t0O6j1N.3TZo8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.tD_xyxUmlil3FwrhUO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N_lqngGE6YisIzadxi5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5Do1JgMkalvwJsVO6YR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2hihfGNUOLJAzshQCcG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rv15jYEk2SB_qLpb_jm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e81BZDxEe877FvrfBPA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vgDzpqI0OhI9a700saL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SniqgIRkGbKRTLIy1hr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H3546ggkqsjf3CY8NdR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98voCktE2JVTIaBUaOI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ztTwbNeUe6nOEDxaTe1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yYWGVzKkq_LWGf6ShsO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JpNs5TPU6JJMTN.mVz_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sKqzNyL0ac25ofJWrO0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sEGKM4aUO5f.Uzxi4ro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mbB.cSTkayY5KMeJ5S2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oDY9pxXE.wrGA24axrV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TnCaUPo0elIoZK428k_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QtmQNCnESSKv3YzeQgt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Zsn8lKZ0KzsSzA1RH2Z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rhD5GxSkeaUqhs2xHiV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XU5eYYa060pU7M0zFWf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v_rJ75d0e_CNLtmVPzY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ArfpzDqU2vq.wwdRXFV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dcWXNFl0G6qmwQC3R8Q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Q691lJe0O.FVNcojflx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BmRuUZHh0iQugzIwYM10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jQr4XKVEeu_Er_M9DKn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V3JmRpKUS3rJlFsNZ_2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UckYgD5kiAY0TNkC3_v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FqrlY5dkiDRRYe.xQV7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5Zb_tYDUegjma5p2_Ip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a3cz6Xd0WaOV5_ap3X.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zsx7FZfU2FqLkDQRmR1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2Emky7I02HsuIgf.K4B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BoxXqyd0CdALzSDqTyp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2gFSUtelUu4BWF_QRuHl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op6sEnbkGT8szkPFm_c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VtNFYPYUa_fgrT1mRZw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R1m3ILHUOSmYv3NF0wj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CuhleKXUGgjxeuLPdaV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zVYC9SIUGQfKcoDIbmo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OyuhCDMkSPqrDZ0LSt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iFG.fJGUSXOKyOEaHcx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olI7dhbUqd3grAto6pH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9dAgecekeghCYZFhIRI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8C97B.DU.NUidDWeA9w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rj62CuekKS6HCb9i9D.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7iDSGy7k.YwrI5cm2p7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iCsuEwX02RYOjnK1C79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m4F3adVkORW25qazIV4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KWadykY0.hHPN0chJPV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cjx7vRNUOxVqworN.CM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K_MwYNJUuqgxKetQtnu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auDBTdh06cuj51Zz2AB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oDY9pxXE.wrGA24axrV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e9BvtVrk2_dfiTFgTIz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anfPoDMkWaLrxS6qE71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nuvp1SrEKzquUa_ClAJ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gsie6Y2E6IoXvXT48q4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cPYdQjO06cO3VBqVBjc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HXF5CdxU2GKrBdYEHc0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2hihfGNUOLJAzshQCcG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rv15jYEk2SB_qLpb_jm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e81BZDxEe877FvrfBP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PhOaLEjUuiVQ198YUm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TMqZBkQECqjjf8gTnM6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vgDzpqI0OhI9a700saL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SniqgIRkGbKRTLIy1hr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H3546ggkqsjf3CY8NdR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98voCktE2JVTIaBUaOI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ztTwbNeUe6nOEDxaTe1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JpNs5TPU6JJMTN.mVz_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sKqzNyL0ac25ofJWrO0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sEGKM4aUO5f.Uzxi4ro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mbB.cSTkayY5KMeJ5S2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Zsn8lKZ0KzsSzA1RH2Z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x6AqQtOkaoyG4XW2iRm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TnCaUPo0elIoZK428k_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QtmQNCnESSKv3YzeQgt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rhD5GxSkeaUqhs2xHiV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XU5eYYa060pU7M0zFWf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ArfpzDqU2vq.wwdRXFV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psKc2ZykCTXngTLXDai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_J5RNhyEeFjNyvFMr4O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93j0S42Eag3WmyT0cNl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r5hotpr0u_O217kuu3Q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QNglPC9U6iydUyWmlVJ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ecqomf7Ea8sQwZYGRoC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MUP2KBRk2OY.T2lkqh1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vW8gID.0SusQgUCh6ra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vW8gID.0SusQgUCh6ra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OS._C_vEmmZwSUFpKQ_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D7FVpZvUy.oU0dah0eO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prEZ2BfkGkEuCyL1Bvh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RI2k6rZ0iKiv3Bw9r6g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7ROnKwQ02XYwoR6cl0.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GDc60jIEmEXAU4iVQQ4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VgUi4uDUSpx.qjueJkW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1zcm9FleEOh0u.MnN8t5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3QBseI20aaNpmOBoFqe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ST0FrvTUuXnh79pzqXv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rNNZjYzUScyw.Jpwbj0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gtuwwJuUSmhV3CsHW_W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NmII..YkaUfKjwxvcvH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vVefsQJEir4X84MJw27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5un_77XkWl9zkHWildf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sfNBcbvECRHxhyjJWUi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yB6lkI70GoP.h6GUbZ6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3R5.UjqkSbeO.s5Kik.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xfTDnvzUKkTL9ZWPiM3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04_y75v0KfVMeilIiVQ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04_y75v0KfVMeilIiVQ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04_y75v0KfVMeilIiVQ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GacdpUtU2XoOlDzpWXV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GacdpUtU2XoOlDzpWXV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3R5.UjqkSbeO.s5Kik.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3R5.UjqkSbeO.s5Kik.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3R5.UjqkSbeO.s5Kik.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VyuumgpUiEeJUTsVyNe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9HbQQzTEunFKhiQ4_re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wqCgQuvE2wCKvtamEZY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2ZpHLx0UKmX5czhHN0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hgpfc9ESltLOlH1Lw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nA5bVd4kyz2x8syQ6dT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u8j0hoaUqrw9i.30jPV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ZVTomYwUiFDXwIxFQ7h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BXLC1fs0.j7q3rCeCmb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fxL2Wys0mW_WIoe8YjI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4rVRxLPEy6VvgE0ctd8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ibVkHb6UiIv5bAfe2JL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2MNpKXcU2eHgNTJ9bLj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439Y906EyCxYr8waIfs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vlB_3i1E6t3nNf8cfMz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r1ooulwkG6dUAjUasA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2klXfE9f0C6F8co8oEN.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IbbeotPUqKDIxg.HpMM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iVxcGK2UKWJdW5eDkkb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9dCvcmmkOdR5NkC1WM_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g7Z3olQkOAeTUG7DBgb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zyghEg7kOcpUi70VtAY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cjhntPKU._kcBbscGz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KVWkceZkWCHGDcCHuSo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CupUi6mUm6IQnU9RUzQ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a3LCyDM0eymt9q2YARZ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wYq9YqSUSuhEhhULvG0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gZ_bMaiEOxmT.gqLVjT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5kS3tBGkyPYC6.zb.Xm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JcXYLX.0qHp_RUHDOjz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n4B82xNku1a5DZq1huv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yCS8_aFkqg1j4eqlcGq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Vn6Mh.qU2QP3sqFmLWx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JF3wInmkCGz_tNhKt9K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6R9fj8gaEO0QVn83quVl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AQuVCno0mgX8LRH7WG_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.CxSt_tEa0PNs8iSHh_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nXItl48kCoV4kRD0p80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YJP6W2YkWeKnL2d.en9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LbMPrlA0.52Gop89S6R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2M1CjC1EGStRBTNTGfd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CnI.oMDUOtBimIMlgkz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TI9nGU6EO8Q8KoRj_vE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Yy1Nr.EmwunbJC7sLE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KLrc2od0Sb_UkJCTk0v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alnpaGnUW3POKX.Zt7G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5M0Y7Xp20WNVI8E5rUo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fWGzIF7U6Ad42JR1Es9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pmUCiGcEuG0y.bQMfnI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yyHHh5lEaUDsqwwh142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tQjMeU8EqoUCtAso_UF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5DVq8J3EKOceZjnB2If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Mw9mkg9ke2341dTI9wR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KqFV1wo0GVFd2kMJW41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CjhUq.J0ewrs9049IdE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MwGRO.oEyCbEkgLwCGR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kH4mpsCEOD3W6eB7wHS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XQ4ObAR0aSdWESdNC82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RyZtUvYEqNcb_F4CsJ4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wec70ML0igsVT.elu7T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ttvZ3810mWO.Gh4geA4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CRdJpGMEqNXE8uplknf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wu1DZ.k0aMqYkr8gF98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H.jBRHSEid3to9ROVgT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7fU7AEAE.S9M9FxtPoJ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gJcZcfI0GTr6vyefk7E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aCdu9oE0ygdfIiP_G3a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ypXEoNuEOL57rMiQn5o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vW8gID.0SusQgUCh6raA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UNECE">
      <a:majorFont>
        <a:latin typeface="TitilliumText14L"/>
        <a:ea typeface=""/>
        <a:cs typeface=""/>
      </a:majorFont>
      <a:minorFont>
        <a:latin typeface="TitilliumText14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>
            <a:lumMod val="40000"/>
            <a:lumOff val="60000"/>
          </a:schemeClr>
        </a:solidFill>
        <a:ln>
          <a:noFill/>
        </a:ln>
      </a:spPr>
      <a:bodyPr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17</TotalTime>
  <Words>2595</Words>
  <Application>Microsoft Office PowerPoint</Application>
  <PresentationFormat>On-screen Show (4:3)</PresentationFormat>
  <Paragraphs>651</Paragraphs>
  <Slides>3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1</vt:i4>
      </vt:variant>
    </vt:vector>
  </HeadingPairs>
  <TitlesOfParts>
    <vt:vector size="39" baseType="lpstr">
      <vt:lpstr>Arial</vt:lpstr>
      <vt:lpstr>Calibri</vt:lpstr>
      <vt:lpstr>TitilliumText14L</vt:lpstr>
      <vt:lpstr>Wingdings</vt:lpstr>
      <vt:lpstr>Webdings</vt:lpstr>
      <vt:lpstr>Tema di Office</vt:lpstr>
      <vt:lpstr>think-cell Slide</vt:lpstr>
      <vt:lpstr>Diagramm</vt:lpstr>
      <vt:lpstr>Reduktimi i vonesave në kufi Tiranë, Shqipëri 16 qershor 2016 </vt:lpstr>
      <vt:lpstr>Pikat e prezantimit</vt:lpstr>
      <vt:lpstr>PowerPoint Presentation</vt:lpstr>
      <vt:lpstr>Drejt sa më pak vonesave në kufi</vt:lpstr>
      <vt:lpstr>Fokusi tek doganat dhe menaxhimi ndërkufitar</vt:lpstr>
      <vt:lpstr>PowerPoint Presentation</vt:lpstr>
      <vt:lpstr>Masat janë përzgjedhur në përputhje me parimet e LT...</vt:lpstr>
      <vt:lpstr>... për të siguruar baraspeshën me kontrollin doganor</vt:lpstr>
      <vt:lpstr>Raporti i Forumit Ekonomik Botëror për mundësimin e tregtisë, 2013</vt:lpstr>
      <vt:lpstr>PowerPoint Presentation</vt:lpstr>
      <vt:lpstr>Instrumentet kryesorë të TF-së që lidhen me doganat dhe menaxhimin ndërkufitar</vt:lpstr>
      <vt:lpstr>Struktura e menaxhimit ndërkufitar dhe fusha e veprimit të doganave</vt:lpstr>
      <vt:lpstr>PowerPoint Presentation</vt:lpstr>
      <vt:lpstr>Masat e LT për zhdoganimin</vt:lpstr>
      <vt:lpstr>Masa të përgjithshme të LT me ndikim në procesin e zhdoganimit</vt:lpstr>
      <vt:lpstr>Shembull - Menaxhimi i rrezikut</vt:lpstr>
      <vt:lpstr>Masat e LT që lidhen me procesin e zhdoganimit</vt:lpstr>
      <vt:lpstr>Shembull – Përpunimi përpara mbërritjes</vt:lpstr>
      <vt:lpstr>PowerPoint Presentation</vt:lpstr>
      <vt:lpstr>(Zinxhiri i furnizimit) Siguria</vt:lpstr>
      <vt:lpstr>Shembull – AEO</vt:lpstr>
      <vt:lpstr>PowerPoint Presentation</vt:lpstr>
      <vt:lpstr>Menaxhimi ndërkufitar</vt:lpstr>
      <vt:lpstr>Shembull - Kontrollet e përbashkëta kufitare</vt:lpstr>
      <vt:lpstr>Pikat e referimit përmes ekspozimit të kapaciteteve për përmirësimin e lehtësimit të tregtisë</vt:lpstr>
      <vt:lpstr>PowerPoint Presentation</vt:lpstr>
      <vt:lpstr>PowerPoint Presentation</vt:lpstr>
      <vt:lpstr>Hapat drejt reduktimit të vonesave në kufi</vt:lpstr>
      <vt:lpstr>Ushtrim</vt:lpstr>
      <vt:lpstr>Pyetje udhëzuese</vt:lpstr>
      <vt:lpstr>Faleminderit!  Maria Rosaria Ceccarelli Drejtore e në detyrë, Sektori i Lehtësimit të Tregtisë UNECE www.unece/trade.org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Maurizio Costanza</dc:creator>
  <cp:lastModifiedBy>Aruna Vivekanantham</cp:lastModifiedBy>
  <cp:revision>117</cp:revision>
  <dcterms:created xsi:type="dcterms:W3CDTF">2012-04-03T09:07:27Z</dcterms:created>
  <dcterms:modified xsi:type="dcterms:W3CDTF">2016-06-16T08:23:18Z</dcterms:modified>
</cp:coreProperties>
</file>